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5"/>
    <p:sldMasterId id="2147483780" r:id="rId6"/>
  </p:sldMasterIdLst>
  <p:notesMasterIdLst>
    <p:notesMasterId r:id="rId26"/>
  </p:notesMasterIdLst>
  <p:handoutMasterIdLst>
    <p:handoutMasterId r:id="rId27"/>
  </p:handoutMasterIdLst>
  <p:sldIdLst>
    <p:sldId id="2049" r:id="rId7"/>
    <p:sldId id="2029" r:id="rId8"/>
    <p:sldId id="2033" r:id="rId9"/>
    <p:sldId id="2056" r:id="rId10"/>
    <p:sldId id="2057" r:id="rId11"/>
    <p:sldId id="2021" r:id="rId12"/>
    <p:sldId id="2032" r:id="rId13"/>
    <p:sldId id="2031" r:id="rId14"/>
    <p:sldId id="2043" r:id="rId15"/>
    <p:sldId id="2024" r:id="rId16"/>
    <p:sldId id="2058" r:id="rId17"/>
    <p:sldId id="2059" r:id="rId18"/>
    <p:sldId id="2060" r:id="rId19"/>
    <p:sldId id="2061" r:id="rId20"/>
    <p:sldId id="2062" r:id="rId21"/>
    <p:sldId id="2063" r:id="rId22"/>
    <p:sldId id="2065" r:id="rId23"/>
    <p:sldId id="2064" r:id="rId24"/>
    <p:sldId id="2055" r:id="rId25"/>
  </p:sldIdLst>
  <p:sldSz cx="12192000" cy="6858000"/>
  <p:notesSz cx="6742113" cy="98726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6" userDrawn="1">
          <p15:clr>
            <a:srgbClr val="A4A3A4"/>
          </p15:clr>
        </p15:guide>
        <p15:guide id="2" pos="18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3C2B"/>
    <a:srgbClr val="7DBA02"/>
    <a:srgbClr val="FDC60D"/>
    <a:srgbClr val="959B51"/>
    <a:srgbClr val="F37920"/>
    <a:srgbClr val="0098AF"/>
    <a:srgbClr val="8CBE3A"/>
    <a:srgbClr val="E42313"/>
    <a:srgbClr val="D32E11"/>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05C2A4-727F-4BDF-BFEA-A8CFAD3BAFA1}" v="54" dt="2024-03-20T11:41:27.1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704"/>
  </p:normalViewPr>
  <p:slideViewPr>
    <p:cSldViewPr snapToGrid="0">
      <p:cViewPr varScale="1">
        <p:scale>
          <a:sx n="59" d="100"/>
          <a:sy n="59" d="100"/>
        </p:scale>
        <p:origin x="940" y="52"/>
      </p:cViewPr>
      <p:guideLst>
        <p:guide orient="horz" pos="436"/>
        <p:guide pos="18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3818971" y="0"/>
            <a:ext cx="2921582" cy="495348"/>
          </a:xfrm>
          <a:prstGeom prst="rect">
            <a:avLst/>
          </a:prstGeom>
        </p:spPr>
        <p:txBody>
          <a:bodyPr vert="horz" lIns="91440" tIns="45720" rIns="91440" bIns="45720" rtlCol="0"/>
          <a:lstStyle>
            <a:lvl1pPr algn="r">
              <a:defRPr sz="1200"/>
            </a:lvl1pPr>
          </a:lstStyle>
          <a:p>
            <a:fld id="{43E9E0EE-1DCB-4F30-B077-464F007E46A9}" type="datetimeFigureOut">
              <a:rPr lang="en-GB" smtClean="0"/>
              <a:t>25/03/2024</a:t>
            </a:fld>
            <a:endParaRPr lang="en-GB"/>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3818971" y="9377317"/>
            <a:ext cx="2921582" cy="495347"/>
          </a:xfrm>
          <a:prstGeom prst="rect">
            <a:avLst/>
          </a:prstGeom>
        </p:spPr>
        <p:txBody>
          <a:bodyPr vert="horz" lIns="91440" tIns="45720" rIns="91440" bIns="45720" rtlCol="0" anchor="b"/>
          <a:lstStyle>
            <a:lvl1pPr algn="r">
              <a:defRPr sz="1200"/>
            </a:lvl1pPr>
          </a:lstStyle>
          <a:p>
            <a:fld id="{6AFBB4C9-A071-41E4-892E-F03D70EA8B87}" type="slidenum">
              <a:rPr lang="en-GB" smtClean="0"/>
              <a:t>‹#›</a:t>
            </a:fld>
            <a:endParaRPr lang="en-GB"/>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19CE7D0A-618D-469D-A0F6-7E10C3D47CE6}" type="datetimeFigureOut">
              <a:rPr lang="en-GB" smtClean="0"/>
              <a:t>25/03/2024</a:t>
            </a:fld>
            <a:endParaRPr lang="en-GB"/>
          </a:p>
        </p:txBody>
      </p:sp>
      <p:sp>
        <p:nvSpPr>
          <p:cNvPr id="4" name="Slide Image Placeholder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42843C31-A911-4174-806B-8AA6C10B71FB}" type="slidenum">
              <a:rPr lang="en-GB" smtClean="0"/>
              <a:t>‹#›</a:t>
            </a:fld>
            <a:endParaRPr lang="en-GB"/>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0" i="0" u="none" strike="noStrike">
                <a:solidFill>
                  <a:srgbClr val="2C363A"/>
                </a:solidFill>
                <a:effectLst/>
                <a:latin typeface="Calibri" panose="020F0502020204030204" pitchFamily="34" charset="0"/>
              </a:rPr>
              <a:t>Growth and Reinvent</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843C31-A911-4174-806B-8AA6C10B71F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9993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2" name="Picture 1">
            <a:extLst>
              <a:ext uri="{FF2B5EF4-FFF2-40B4-BE49-F238E27FC236}">
                <a16:creationId xmlns:a16="http://schemas.microsoft.com/office/drawing/2014/main" id="{0B3F589F-2371-83D8-F684-3450621F48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9383083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9285813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10" name="Picture 9" descr="A green train on a track&#10;&#10;Description automatically generated">
            <a:extLst>
              <a:ext uri="{FF2B5EF4-FFF2-40B4-BE49-F238E27FC236}">
                <a16:creationId xmlns:a16="http://schemas.microsoft.com/office/drawing/2014/main" id="{632EF9B6-B7F2-5B68-A22D-54C283B3FF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5851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4608551" y="1078100"/>
            <a:ext cx="5071263" cy="2585323"/>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574970" y="395211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8" name="Picture 7" descr="Train tracks with train cars on each side&#10;&#10;Description automatically generated">
            <a:extLst>
              <a:ext uri="{FF2B5EF4-FFF2-40B4-BE49-F238E27FC236}">
                <a16:creationId xmlns:a16="http://schemas.microsoft.com/office/drawing/2014/main" id="{2ED9AAEA-3731-AD3D-0F78-72016945F3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271"/>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984614" y="1239087"/>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3285615" y="3772254"/>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4" name="Picture 3" descr="A yellow pipes on a building&#10;&#10;Description automatically generated with medium confidence">
            <a:extLst>
              <a:ext uri="{FF2B5EF4-FFF2-40B4-BE49-F238E27FC236}">
                <a16:creationId xmlns:a16="http://schemas.microsoft.com/office/drawing/2014/main" id="{9EB74ED6-8907-4B51-479C-FDD3F66E7FA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467495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pic>
        <p:nvPicPr>
          <p:cNvPr id="3" name="Picture 2">
            <a:extLst>
              <a:ext uri="{FF2B5EF4-FFF2-40B4-BE49-F238E27FC236}">
                <a16:creationId xmlns:a16="http://schemas.microsoft.com/office/drawing/2014/main" id="{250BD579-4CC2-EDC1-6F2E-4E4E271189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5051478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647456" y="1783669"/>
            <a:ext cx="4581382" cy="430887"/>
          </a:xfrm>
          <a:prstGeom prst="rect">
            <a:avLst/>
          </a:prstGeom>
        </p:spPr>
        <p:txBody>
          <a:bodyPr wrap="none" anchor="t">
            <a:spAutoFit/>
          </a:bodyPr>
          <a:lstStyle>
            <a:lvl1pPr>
              <a:defRPr>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647456" y="2728306"/>
            <a:ext cx="2810385" cy="788724"/>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83083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64" name="object 28">
            <a:extLst>
              <a:ext uri="{FF2B5EF4-FFF2-40B4-BE49-F238E27FC236}">
                <a16:creationId xmlns:a16="http://schemas.microsoft.com/office/drawing/2014/main" id="{B1EBB989-00E3-D6D3-BA22-415DE9325BC0}"/>
              </a:ext>
            </a:extLst>
          </p:cNvPr>
          <p:cNvSpPr/>
          <p:nvPr userDrawn="1"/>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5" name="object 29">
            <a:extLst>
              <a:ext uri="{FF2B5EF4-FFF2-40B4-BE49-F238E27FC236}">
                <a16:creationId xmlns:a16="http://schemas.microsoft.com/office/drawing/2014/main" id="{98EDCB58-2F4E-3B5A-F44A-1C6DA9DAE850}"/>
              </a:ext>
            </a:extLst>
          </p:cNvPr>
          <p:cNvSpPr/>
          <p:nvPr userDrawn="1"/>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66" name="object 30">
            <a:extLst>
              <a:ext uri="{FF2B5EF4-FFF2-40B4-BE49-F238E27FC236}">
                <a16:creationId xmlns:a16="http://schemas.microsoft.com/office/drawing/2014/main" id="{A926D28C-6151-8A1C-771F-5FB40DA522E1}"/>
              </a:ext>
            </a:extLst>
          </p:cNvPr>
          <p:cNvGrpSpPr/>
          <p:nvPr userDrawn="1"/>
        </p:nvGrpSpPr>
        <p:grpSpPr>
          <a:xfrm>
            <a:off x="10674915" y="302263"/>
            <a:ext cx="1085947" cy="122368"/>
            <a:chOff x="-1" y="-1"/>
            <a:chExt cx="1085945" cy="122366"/>
          </a:xfrm>
        </p:grpSpPr>
        <p:sp>
          <p:nvSpPr>
            <p:cNvPr id="67" name="Shape">
              <a:extLst>
                <a:ext uri="{FF2B5EF4-FFF2-40B4-BE49-F238E27FC236}">
                  <a16:creationId xmlns:a16="http://schemas.microsoft.com/office/drawing/2014/main" id="{544896C9-285D-6014-B1BE-7DF9F12928BB}"/>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8" name="Shape">
              <a:extLst>
                <a:ext uri="{FF2B5EF4-FFF2-40B4-BE49-F238E27FC236}">
                  <a16:creationId xmlns:a16="http://schemas.microsoft.com/office/drawing/2014/main" id="{C8302F9B-EB15-48F7-EEEB-59A1F87F6CF0}"/>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69" name="Shape">
              <a:extLst>
                <a:ext uri="{FF2B5EF4-FFF2-40B4-BE49-F238E27FC236}">
                  <a16:creationId xmlns:a16="http://schemas.microsoft.com/office/drawing/2014/main" id="{C7505F4A-52A4-A731-2579-D481529E950E}"/>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0" name="Shape">
              <a:extLst>
                <a:ext uri="{FF2B5EF4-FFF2-40B4-BE49-F238E27FC236}">
                  <a16:creationId xmlns:a16="http://schemas.microsoft.com/office/drawing/2014/main" id="{8724BFE6-8E91-2C9F-65FD-21D7C62327AB}"/>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1" name="Shape">
              <a:extLst>
                <a:ext uri="{FF2B5EF4-FFF2-40B4-BE49-F238E27FC236}">
                  <a16:creationId xmlns:a16="http://schemas.microsoft.com/office/drawing/2014/main" id="{E32021AA-A157-65E2-8856-507ECCA2000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2" name="Shape">
              <a:extLst>
                <a:ext uri="{FF2B5EF4-FFF2-40B4-BE49-F238E27FC236}">
                  <a16:creationId xmlns:a16="http://schemas.microsoft.com/office/drawing/2014/main" id="{F24C6A28-92A7-3887-0C6D-CCEEEE7787B1}"/>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3" name="Shape">
              <a:extLst>
                <a:ext uri="{FF2B5EF4-FFF2-40B4-BE49-F238E27FC236}">
                  <a16:creationId xmlns:a16="http://schemas.microsoft.com/office/drawing/2014/main" id="{EF640FF7-233E-D92A-232E-3A552A56ADF8}"/>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4" name="Shape">
              <a:extLst>
                <a:ext uri="{FF2B5EF4-FFF2-40B4-BE49-F238E27FC236}">
                  <a16:creationId xmlns:a16="http://schemas.microsoft.com/office/drawing/2014/main" id="{31820EBD-881A-577A-538C-9CFFBC6E2BEF}"/>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5" name="Shape">
              <a:extLst>
                <a:ext uri="{FF2B5EF4-FFF2-40B4-BE49-F238E27FC236}">
                  <a16:creationId xmlns:a16="http://schemas.microsoft.com/office/drawing/2014/main" id="{839D6678-0F30-64A0-A81E-3E78472998D1}"/>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6" name="Shape">
              <a:extLst>
                <a:ext uri="{FF2B5EF4-FFF2-40B4-BE49-F238E27FC236}">
                  <a16:creationId xmlns:a16="http://schemas.microsoft.com/office/drawing/2014/main" id="{44F57D43-1274-D2C0-24FB-5DEFE496F341}"/>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7" name="Shape">
              <a:extLst>
                <a:ext uri="{FF2B5EF4-FFF2-40B4-BE49-F238E27FC236}">
                  <a16:creationId xmlns:a16="http://schemas.microsoft.com/office/drawing/2014/main" id="{6F81D7AA-17FB-529B-7A0D-4526786DD50C}"/>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8" name="Rectangle">
              <a:extLst>
                <a:ext uri="{FF2B5EF4-FFF2-40B4-BE49-F238E27FC236}">
                  <a16:creationId xmlns:a16="http://schemas.microsoft.com/office/drawing/2014/main" id="{04E90E31-0D44-6060-18C4-04EDB2173C6A}"/>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79" name="Rectangle">
              <a:extLst>
                <a:ext uri="{FF2B5EF4-FFF2-40B4-BE49-F238E27FC236}">
                  <a16:creationId xmlns:a16="http://schemas.microsoft.com/office/drawing/2014/main" id="{5D89FADF-1523-B1B4-0455-FB22C3351AD6}"/>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0" name="Shape">
              <a:extLst>
                <a:ext uri="{FF2B5EF4-FFF2-40B4-BE49-F238E27FC236}">
                  <a16:creationId xmlns:a16="http://schemas.microsoft.com/office/drawing/2014/main" id="{6506568C-06B3-AC1A-BA33-32969259AE1A}"/>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1" name="Shape">
              <a:extLst>
                <a:ext uri="{FF2B5EF4-FFF2-40B4-BE49-F238E27FC236}">
                  <a16:creationId xmlns:a16="http://schemas.microsoft.com/office/drawing/2014/main" id="{EA0F79C9-CBA1-A18E-DCC7-95CB7571CCA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2" name="Shape">
              <a:extLst>
                <a:ext uri="{FF2B5EF4-FFF2-40B4-BE49-F238E27FC236}">
                  <a16:creationId xmlns:a16="http://schemas.microsoft.com/office/drawing/2014/main" id="{BBEA2834-1BDD-72F8-16D6-01C8FCEAC800}"/>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83" name="Rectangle">
              <a:extLst>
                <a:ext uri="{FF2B5EF4-FFF2-40B4-BE49-F238E27FC236}">
                  <a16:creationId xmlns:a16="http://schemas.microsoft.com/office/drawing/2014/main" id="{598A435C-4928-5DBD-8DD2-98FE25DC2D8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5051478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Placeholder 433" descr="A desk with technical drawings, pencil and tools">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735044" cy="788724"/>
          </a:xfrm>
          <a:prstGeom prst="rect">
            <a:avLst/>
          </a:prstGeom>
        </p:spPr>
        <p:txBody>
          <a:bodyPr wrap="none" tIns="144000">
            <a:spAutoFit/>
          </a:bodyPr>
          <a:lstStyle>
            <a:lvl1pPr algn="r">
              <a:defRPr sz="1800" b="0" i="0">
                <a:solidFill>
                  <a:schemeClr val="tx1">
                    <a:lumMod val="50000"/>
                    <a:lumOff val="50000"/>
                  </a:schemeClr>
                </a:solidFill>
                <a:latin typeface="Apex New Book" panose="02010600040501010103" pitchFamily="2" charset="77"/>
                <a:ea typeface="Apex New Book"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3592434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3" name="Rectangle 2">
            <a:extLst>
              <a:ext uri="{FF2B5EF4-FFF2-40B4-BE49-F238E27FC236}">
                <a16:creationId xmlns:a16="http://schemas.microsoft.com/office/drawing/2014/main" id="{CA525C38-6FFD-DE61-F2F9-A74DA63DDA63}"/>
              </a:ext>
            </a:extLst>
          </p:cNvPr>
          <p:cNvSpPr/>
          <p:nvPr userDrawn="1"/>
        </p:nvSpPr>
        <p:spPr>
          <a:xfrm>
            <a:off x="0" y="0"/>
            <a:ext cx="12192000" cy="6858000"/>
          </a:xfrm>
          <a:prstGeom prst="rect">
            <a:avLst/>
          </a:pr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452532" y="1559081"/>
            <a:ext cx="42057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1841017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C3784C0-AEDF-10DD-4608-3BD04462041C}"/>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5096932" y="1559081"/>
            <a:ext cx="4561347"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Graphic 4">
            <a:extLst>
              <a:ext uri="{FF2B5EF4-FFF2-40B4-BE49-F238E27FC236}">
                <a16:creationId xmlns:a16="http://schemas.microsoft.com/office/drawing/2014/main" id="{D1BD1A9C-0B6C-5E16-67BF-F46E6D548358}"/>
              </a:ext>
            </a:extLst>
          </p:cNvPr>
          <p:cNvSpPr/>
          <p:nvPr userDrawn="1"/>
        </p:nvSpPr>
        <p:spPr>
          <a:xfrm>
            <a:off x="629600" y="913946"/>
            <a:ext cx="9089796" cy="5365238"/>
          </a:xfrm>
          <a:custGeom>
            <a:avLst/>
            <a:gdLst>
              <a:gd name="connsiteX0" fmla="*/ 2718340 w 6829615"/>
              <a:gd name="connsiteY0" fmla="*/ 4031171 h 4031170"/>
              <a:gd name="connsiteX1" fmla="*/ 2288381 w 6829615"/>
              <a:gd name="connsiteY1" fmla="*/ 4028504 h 4031170"/>
              <a:gd name="connsiteX2" fmla="*/ 1978724 w 6829615"/>
              <a:gd name="connsiteY2" fmla="*/ 3663887 h 4031170"/>
              <a:gd name="connsiteX3" fmla="*/ 1978724 w 6829615"/>
              <a:gd name="connsiteY3" fmla="*/ 3314129 h 4031170"/>
              <a:gd name="connsiteX4" fmla="*/ 1742980 w 6829615"/>
              <a:gd name="connsiteY4" fmla="*/ 2885599 h 4031170"/>
              <a:gd name="connsiteX5" fmla="*/ 1743742 w 6829615"/>
              <a:gd name="connsiteY5" fmla="*/ 2627662 h 4031170"/>
              <a:gd name="connsiteX6" fmla="*/ 1603534 w 6829615"/>
              <a:gd name="connsiteY6" fmla="*/ 2383631 h 4031170"/>
              <a:gd name="connsiteX7" fmla="*/ 1603534 w 6829615"/>
              <a:gd name="connsiteY7" fmla="*/ 1988344 h 4031170"/>
              <a:gd name="connsiteX8" fmla="*/ 1563624 w 6829615"/>
              <a:gd name="connsiteY8" fmla="*/ 1916906 h 4031170"/>
              <a:gd name="connsiteX9" fmla="*/ 1009840 w 6829615"/>
              <a:gd name="connsiteY9" fmla="*/ 1916906 h 4031170"/>
              <a:gd name="connsiteX10" fmla="*/ 947833 w 6829615"/>
              <a:gd name="connsiteY10" fmla="*/ 2024443 h 4031170"/>
              <a:gd name="connsiteX11" fmla="*/ 351282 w 6829615"/>
              <a:gd name="connsiteY11" fmla="*/ 2024443 h 4031170"/>
              <a:gd name="connsiteX12" fmla="*/ 0 w 6829615"/>
              <a:gd name="connsiteY12" fmla="*/ 1478661 h 4031170"/>
              <a:gd name="connsiteX13" fmla="*/ 0 w 6829615"/>
              <a:gd name="connsiteY13" fmla="*/ 860965 h 4031170"/>
              <a:gd name="connsiteX14" fmla="*/ 512636 w 6829615"/>
              <a:gd name="connsiteY14" fmla="*/ 0 h 4031170"/>
              <a:gd name="connsiteX15" fmla="*/ 1361408 w 6829615"/>
              <a:gd name="connsiteY15" fmla="*/ 0 h 4031170"/>
              <a:gd name="connsiteX16" fmla="*/ 1537526 w 6829615"/>
              <a:gd name="connsiteY16" fmla="*/ 290417 h 4031170"/>
              <a:gd name="connsiteX17" fmla="*/ 1638967 w 6829615"/>
              <a:gd name="connsiteY17" fmla="*/ 289751 h 4031170"/>
              <a:gd name="connsiteX18" fmla="*/ 1798130 w 6829615"/>
              <a:gd name="connsiteY18" fmla="*/ 0 h 4031170"/>
              <a:gd name="connsiteX19" fmla="*/ 6829616 w 6829615"/>
              <a:gd name="connsiteY19" fmla="*/ 0 h 4031170"/>
              <a:gd name="connsiteX20" fmla="*/ 6829616 w 6829615"/>
              <a:gd name="connsiteY20" fmla="*/ 161925 h 4031170"/>
              <a:gd name="connsiteX21" fmla="*/ 1893951 w 6829615"/>
              <a:gd name="connsiteY21" fmla="*/ 161925 h 4031170"/>
              <a:gd name="connsiteX22" fmla="*/ 1735169 w 6829615"/>
              <a:gd name="connsiteY22" fmla="*/ 451104 h 4031170"/>
              <a:gd name="connsiteX23" fmla="*/ 1446752 w 6829615"/>
              <a:gd name="connsiteY23" fmla="*/ 452914 h 4031170"/>
              <a:gd name="connsiteX24" fmla="*/ 1270254 w 6829615"/>
              <a:gd name="connsiteY24" fmla="*/ 161925 h 4031170"/>
              <a:gd name="connsiteX25" fmla="*/ 604647 w 6829615"/>
              <a:gd name="connsiteY25" fmla="*/ 161925 h 4031170"/>
              <a:gd name="connsiteX26" fmla="*/ 161925 w 6829615"/>
              <a:gd name="connsiteY26" fmla="*/ 905447 h 4031170"/>
              <a:gd name="connsiteX27" fmla="*/ 161925 w 6829615"/>
              <a:gd name="connsiteY27" fmla="*/ 1431036 h 4031170"/>
              <a:gd name="connsiteX28" fmla="*/ 439674 w 6829615"/>
              <a:gd name="connsiteY28" fmla="*/ 1862518 h 4031170"/>
              <a:gd name="connsiteX29" fmla="*/ 854297 w 6829615"/>
              <a:gd name="connsiteY29" fmla="*/ 1862518 h 4031170"/>
              <a:gd name="connsiteX30" fmla="*/ 916305 w 6829615"/>
              <a:gd name="connsiteY30" fmla="*/ 1754981 h 4031170"/>
              <a:gd name="connsiteX31" fmla="*/ 1658684 w 6829615"/>
              <a:gd name="connsiteY31" fmla="*/ 1754981 h 4031170"/>
              <a:gd name="connsiteX32" fmla="*/ 1765459 w 6829615"/>
              <a:gd name="connsiteY32" fmla="*/ 1946148 h 4031170"/>
              <a:gd name="connsiteX33" fmla="*/ 1765459 w 6829615"/>
              <a:gd name="connsiteY33" fmla="*/ 2340388 h 4031170"/>
              <a:gd name="connsiteX34" fmla="*/ 1905762 w 6829615"/>
              <a:gd name="connsiteY34" fmla="*/ 2584704 h 4031170"/>
              <a:gd name="connsiteX35" fmla="*/ 1905000 w 6829615"/>
              <a:gd name="connsiteY35" fmla="*/ 2844260 h 4031170"/>
              <a:gd name="connsiteX36" fmla="*/ 2140649 w 6829615"/>
              <a:gd name="connsiteY36" fmla="*/ 3272504 h 4031170"/>
              <a:gd name="connsiteX37" fmla="*/ 2140649 w 6829615"/>
              <a:gd name="connsiteY37" fmla="*/ 3604451 h 4031170"/>
              <a:gd name="connsiteX38" fmla="*/ 2363724 w 6829615"/>
              <a:gd name="connsiteY38" fmla="*/ 3867055 h 4031170"/>
              <a:gd name="connsiteX39" fmla="*/ 2627090 w 6829615"/>
              <a:gd name="connsiteY39" fmla="*/ 3868674 h 4031170"/>
              <a:gd name="connsiteX40" fmla="*/ 2764250 w 6829615"/>
              <a:gd name="connsiteY40" fmla="*/ 3640646 h 4031170"/>
              <a:gd name="connsiteX41" fmla="*/ 2764250 w 6829615"/>
              <a:gd name="connsiteY41" fmla="*/ 3422047 h 4031170"/>
              <a:gd name="connsiteX42" fmla="*/ 3150203 w 6829615"/>
              <a:gd name="connsiteY42" fmla="*/ 2817019 h 4031170"/>
              <a:gd name="connsiteX43" fmla="*/ 3150203 w 6829615"/>
              <a:gd name="connsiteY43" fmla="*/ 2411444 h 4031170"/>
              <a:gd name="connsiteX44" fmla="*/ 3374231 w 6829615"/>
              <a:gd name="connsiteY44" fmla="*/ 2058067 h 4031170"/>
              <a:gd name="connsiteX45" fmla="*/ 3595973 w 6829615"/>
              <a:gd name="connsiteY45" fmla="*/ 2060448 h 4031170"/>
              <a:gd name="connsiteX46" fmla="*/ 3872960 w 6829615"/>
              <a:gd name="connsiteY46" fmla="*/ 1576007 h 4031170"/>
              <a:gd name="connsiteX47" fmla="*/ 3284982 w 6829615"/>
              <a:gd name="connsiteY47" fmla="*/ 1576007 h 4031170"/>
              <a:gd name="connsiteX48" fmla="*/ 3057049 w 6829615"/>
              <a:gd name="connsiteY48" fmla="*/ 1184529 h 4031170"/>
              <a:gd name="connsiteX49" fmla="*/ 3057525 w 6829615"/>
              <a:gd name="connsiteY49" fmla="*/ 867728 h 4031170"/>
              <a:gd name="connsiteX50" fmla="*/ 2748724 w 6829615"/>
              <a:gd name="connsiteY50" fmla="*/ 440912 h 4031170"/>
              <a:gd name="connsiteX51" fmla="*/ 2058638 w 6829615"/>
              <a:gd name="connsiteY51" fmla="*/ 440912 h 4031170"/>
              <a:gd name="connsiteX52" fmla="*/ 1873853 w 6829615"/>
              <a:gd name="connsiteY52" fmla="*/ 778097 h 4031170"/>
              <a:gd name="connsiteX53" fmla="*/ 1305116 w 6829615"/>
              <a:gd name="connsiteY53" fmla="*/ 778097 h 4031170"/>
              <a:gd name="connsiteX54" fmla="*/ 1102233 w 6829615"/>
              <a:gd name="connsiteY54" fmla="*/ 431387 h 4031170"/>
              <a:gd name="connsiteX55" fmla="*/ 739426 w 6829615"/>
              <a:gd name="connsiteY55" fmla="*/ 431387 h 4031170"/>
              <a:gd name="connsiteX56" fmla="*/ 421196 w 6829615"/>
              <a:gd name="connsiteY56" fmla="*/ 995077 h 4031170"/>
              <a:gd name="connsiteX57" fmla="*/ 428435 w 6829615"/>
              <a:gd name="connsiteY57" fmla="*/ 1339787 h 4031170"/>
              <a:gd name="connsiteX58" fmla="*/ 598075 w 6829615"/>
              <a:gd name="connsiteY58" fmla="*/ 1584389 h 4031170"/>
              <a:gd name="connsiteX59" fmla="*/ 720471 w 6829615"/>
              <a:gd name="connsiteY59" fmla="*/ 1584389 h 4031170"/>
              <a:gd name="connsiteX60" fmla="*/ 823817 w 6829615"/>
              <a:gd name="connsiteY60" fmla="*/ 1449229 h 4031170"/>
              <a:gd name="connsiteX61" fmla="*/ 1788795 w 6829615"/>
              <a:gd name="connsiteY61" fmla="*/ 1449229 h 4031170"/>
              <a:gd name="connsiteX62" fmla="*/ 2030825 w 6829615"/>
              <a:gd name="connsiteY62" fmla="*/ 1890046 h 4031170"/>
              <a:gd name="connsiteX63" fmla="*/ 2030825 w 6829615"/>
              <a:gd name="connsiteY63" fmla="*/ 2294763 h 4031170"/>
              <a:gd name="connsiteX64" fmla="*/ 2171414 w 6829615"/>
              <a:gd name="connsiteY64" fmla="*/ 2536222 h 4031170"/>
              <a:gd name="connsiteX65" fmla="*/ 2171414 w 6829615"/>
              <a:gd name="connsiteY65" fmla="*/ 2782348 h 4031170"/>
              <a:gd name="connsiteX66" fmla="*/ 2424017 w 6829615"/>
              <a:gd name="connsiteY66" fmla="*/ 3204782 h 4031170"/>
              <a:gd name="connsiteX67" fmla="*/ 2424017 w 6829615"/>
              <a:gd name="connsiteY67" fmla="*/ 3455861 h 4031170"/>
              <a:gd name="connsiteX68" fmla="*/ 2493740 w 6829615"/>
              <a:gd name="connsiteY68" fmla="*/ 3546824 h 4031170"/>
              <a:gd name="connsiteX69" fmla="*/ 2523554 w 6829615"/>
              <a:gd name="connsiteY69" fmla="*/ 3497485 h 4031170"/>
              <a:gd name="connsiteX70" fmla="*/ 2523554 w 6829615"/>
              <a:gd name="connsiteY70" fmla="*/ 3311366 h 4031170"/>
              <a:gd name="connsiteX71" fmla="*/ 2882741 w 6829615"/>
              <a:gd name="connsiteY71" fmla="*/ 2736723 h 4031170"/>
              <a:gd name="connsiteX72" fmla="*/ 2885694 w 6829615"/>
              <a:gd name="connsiteY72" fmla="*/ 2291906 h 4031170"/>
              <a:gd name="connsiteX73" fmla="*/ 3159919 w 6829615"/>
              <a:gd name="connsiteY73" fmla="*/ 1831372 h 4031170"/>
              <a:gd name="connsiteX74" fmla="*/ 3448907 w 6829615"/>
              <a:gd name="connsiteY74" fmla="*/ 1830324 h 4031170"/>
              <a:gd name="connsiteX75" fmla="*/ 3463671 w 6829615"/>
              <a:gd name="connsiteY75" fmla="*/ 1805464 h 4031170"/>
              <a:gd name="connsiteX76" fmla="*/ 3139345 w 6829615"/>
              <a:gd name="connsiteY76" fmla="*/ 1804226 h 4031170"/>
              <a:gd name="connsiteX77" fmla="*/ 2795969 w 6829615"/>
              <a:gd name="connsiteY77" fmla="*/ 1241489 h 4031170"/>
              <a:gd name="connsiteX78" fmla="*/ 2806637 w 6829615"/>
              <a:gd name="connsiteY78" fmla="*/ 959072 h 4031170"/>
              <a:gd name="connsiteX79" fmla="*/ 2635949 w 6829615"/>
              <a:gd name="connsiteY79" fmla="*/ 708470 h 4031170"/>
              <a:gd name="connsiteX80" fmla="*/ 2205990 w 6829615"/>
              <a:gd name="connsiteY80" fmla="*/ 706184 h 4031170"/>
              <a:gd name="connsiteX81" fmla="*/ 2018062 w 6829615"/>
              <a:gd name="connsiteY81" fmla="*/ 1035939 h 4031170"/>
              <a:gd name="connsiteX82" fmla="*/ 1136618 w 6829615"/>
              <a:gd name="connsiteY82" fmla="*/ 1035939 h 4031170"/>
              <a:gd name="connsiteX83" fmla="*/ 966883 w 6829615"/>
              <a:gd name="connsiteY83" fmla="*/ 719423 h 4031170"/>
              <a:gd name="connsiteX84" fmla="*/ 906685 w 6829615"/>
              <a:gd name="connsiteY84" fmla="*/ 719423 h 4031170"/>
              <a:gd name="connsiteX85" fmla="*/ 707708 w 6829615"/>
              <a:gd name="connsiteY85" fmla="*/ 1096709 h 4031170"/>
              <a:gd name="connsiteX86" fmla="*/ 708946 w 6829615"/>
              <a:gd name="connsiteY86" fmla="*/ 1153954 h 4031170"/>
              <a:gd name="connsiteX87" fmla="*/ 2203990 w 6829615"/>
              <a:gd name="connsiteY87" fmla="*/ 1154811 h 4031170"/>
              <a:gd name="connsiteX88" fmla="*/ 2355342 w 6829615"/>
              <a:gd name="connsiteY88" fmla="*/ 858298 h 4031170"/>
              <a:gd name="connsiteX89" fmla="*/ 2559749 w 6829615"/>
              <a:gd name="connsiteY89" fmla="*/ 858298 h 4031170"/>
              <a:gd name="connsiteX90" fmla="*/ 2688812 w 6829615"/>
              <a:gd name="connsiteY90" fmla="*/ 1028414 h 4031170"/>
              <a:gd name="connsiteX91" fmla="*/ 2688812 w 6829615"/>
              <a:gd name="connsiteY91" fmla="*/ 1353217 h 4031170"/>
              <a:gd name="connsiteX92" fmla="*/ 3007519 w 6829615"/>
              <a:gd name="connsiteY92" fmla="*/ 1887664 h 4031170"/>
              <a:gd name="connsiteX93" fmla="*/ 2767394 w 6829615"/>
              <a:gd name="connsiteY93" fmla="*/ 2247900 h 4031170"/>
              <a:gd name="connsiteX94" fmla="*/ 2761583 w 6829615"/>
              <a:gd name="connsiteY94" fmla="*/ 2718149 h 4031170"/>
              <a:gd name="connsiteX95" fmla="*/ 2500313 w 6829615"/>
              <a:gd name="connsiteY95" fmla="*/ 3111532 h 4031170"/>
              <a:gd name="connsiteX96" fmla="*/ 2262378 w 6829615"/>
              <a:gd name="connsiteY96" fmla="*/ 2712149 h 4031170"/>
              <a:gd name="connsiteX97" fmla="*/ 2262378 w 6829615"/>
              <a:gd name="connsiteY97" fmla="*/ 2427446 h 4031170"/>
              <a:gd name="connsiteX98" fmla="*/ 2158460 w 6829615"/>
              <a:gd name="connsiteY98" fmla="*/ 2257139 h 4031170"/>
              <a:gd name="connsiteX99" fmla="*/ 2158460 w 6829615"/>
              <a:gd name="connsiteY99" fmla="*/ 1856708 h 4031170"/>
              <a:gd name="connsiteX100" fmla="*/ 1913192 w 6829615"/>
              <a:gd name="connsiteY100" fmla="*/ 1441323 h 4031170"/>
              <a:gd name="connsiteX101" fmla="*/ 2415635 w 6829615"/>
              <a:gd name="connsiteY101" fmla="*/ 1441323 h 4031170"/>
              <a:gd name="connsiteX102" fmla="*/ 2683859 w 6829615"/>
              <a:gd name="connsiteY102" fmla="*/ 1863090 h 4031170"/>
              <a:gd name="connsiteX103" fmla="*/ 2526887 w 6829615"/>
              <a:gd name="connsiteY103" fmla="*/ 2100072 h 4031170"/>
              <a:gd name="connsiteX104" fmla="*/ 2526887 w 6829615"/>
              <a:gd name="connsiteY104" fmla="*/ 2145125 h 4031170"/>
              <a:gd name="connsiteX105" fmla="*/ 2364962 w 6829615"/>
              <a:gd name="connsiteY105" fmla="*/ 2145125 h 4031170"/>
              <a:gd name="connsiteX106" fmla="*/ 2364962 w 6829615"/>
              <a:gd name="connsiteY106" fmla="*/ 2051399 h 4031170"/>
              <a:gd name="connsiteX107" fmla="*/ 2490788 w 6829615"/>
              <a:gd name="connsiteY107" fmla="*/ 1861280 h 4031170"/>
              <a:gd name="connsiteX108" fmla="*/ 2326672 w 6829615"/>
              <a:gd name="connsiteY108" fmla="*/ 1603248 h 4031170"/>
              <a:gd name="connsiteX109" fmla="*/ 2196846 w 6829615"/>
              <a:gd name="connsiteY109" fmla="*/ 1603248 h 4031170"/>
              <a:gd name="connsiteX110" fmla="*/ 2320385 w 6829615"/>
              <a:gd name="connsiteY110" fmla="*/ 1812417 h 4031170"/>
              <a:gd name="connsiteX111" fmla="*/ 2320385 w 6829615"/>
              <a:gd name="connsiteY111" fmla="*/ 2211705 h 4031170"/>
              <a:gd name="connsiteX112" fmla="*/ 2424303 w 6829615"/>
              <a:gd name="connsiteY112" fmla="*/ 2381917 h 4031170"/>
              <a:gd name="connsiteX113" fmla="*/ 2424303 w 6829615"/>
              <a:gd name="connsiteY113" fmla="*/ 2667572 h 4031170"/>
              <a:gd name="connsiteX114" fmla="*/ 2507742 w 6829615"/>
              <a:gd name="connsiteY114" fmla="*/ 2807684 h 4031170"/>
              <a:gd name="connsiteX115" fmla="*/ 2600325 w 6829615"/>
              <a:gd name="connsiteY115" fmla="*/ 2668334 h 4031170"/>
              <a:gd name="connsiteX116" fmla="*/ 2606040 w 6829615"/>
              <a:gd name="connsiteY116" fmla="*/ 2197894 h 4031170"/>
              <a:gd name="connsiteX117" fmla="*/ 2816066 w 6829615"/>
              <a:gd name="connsiteY117" fmla="*/ 1882902 h 4031170"/>
              <a:gd name="connsiteX118" fmla="*/ 2526887 w 6829615"/>
              <a:gd name="connsiteY118" fmla="*/ 1397794 h 4031170"/>
              <a:gd name="connsiteX119" fmla="*/ 2526887 w 6829615"/>
              <a:gd name="connsiteY119" fmla="*/ 1082897 h 4031170"/>
              <a:gd name="connsiteX120" fmla="*/ 2479358 w 6829615"/>
              <a:gd name="connsiteY120" fmla="*/ 1020223 h 4031170"/>
              <a:gd name="connsiteX121" fmla="*/ 2454497 w 6829615"/>
              <a:gd name="connsiteY121" fmla="*/ 1020223 h 4031170"/>
              <a:gd name="connsiteX122" fmla="*/ 2303145 w 6829615"/>
              <a:gd name="connsiteY122" fmla="*/ 1316831 h 4031170"/>
              <a:gd name="connsiteX123" fmla="*/ 759143 w 6829615"/>
              <a:gd name="connsiteY123" fmla="*/ 1315974 h 4031170"/>
              <a:gd name="connsiteX124" fmla="*/ 686562 w 6829615"/>
              <a:gd name="connsiteY124" fmla="*/ 1377315 h 4031170"/>
              <a:gd name="connsiteX125" fmla="*/ 602647 w 6829615"/>
              <a:gd name="connsiteY125" fmla="*/ 1378744 h 4031170"/>
              <a:gd name="connsiteX126" fmla="*/ 550259 w 6829615"/>
              <a:gd name="connsiteY126" fmla="*/ 1309402 h 4031170"/>
              <a:gd name="connsiteX127" fmla="*/ 545021 w 6829615"/>
              <a:gd name="connsiteY127" fmla="*/ 1058228 h 4031170"/>
              <a:gd name="connsiteX128" fmla="*/ 808958 w 6829615"/>
              <a:gd name="connsiteY128" fmla="*/ 557498 h 4031170"/>
              <a:gd name="connsiteX129" fmla="*/ 1063752 w 6829615"/>
              <a:gd name="connsiteY129" fmla="*/ 557498 h 4031170"/>
              <a:gd name="connsiteX130" fmla="*/ 1233583 w 6829615"/>
              <a:gd name="connsiteY130" fmla="*/ 874014 h 4031170"/>
              <a:gd name="connsiteX131" fmla="*/ 1923955 w 6829615"/>
              <a:gd name="connsiteY131" fmla="*/ 874014 h 4031170"/>
              <a:gd name="connsiteX132" fmla="*/ 2112264 w 6829615"/>
              <a:gd name="connsiteY132" fmla="*/ 543687 h 4031170"/>
              <a:gd name="connsiteX133" fmla="*/ 2721864 w 6829615"/>
              <a:gd name="connsiteY133" fmla="*/ 547021 h 4031170"/>
              <a:gd name="connsiteX134" fmla="*/ 2970371 w 6829615"/>
              <a:gd name="connsiteY134" fmla="*/ 911924 h 4031170"/>
              <a:gd name="connsiteX135" fmla="*/ 2959608 w 6829615"/>
              <a:gd name="connsiteY135" fmla="*/ 1198721 h 4031170"/>
              <a:gd name="connsiteX136" fmla="*/ 3230404 w 6829615"/>
              <a:gd name="connsiteY136" fmla="*/ 1642682 h 4031170"/>
              <a:gd name="connsiteX137" fmla="*/ 3747326 w 6829615"/>
              <a:gd name="connsiteY137" fmla="*/ 1644587 h 4031170"/>
              <a:gd name="connsiteX138" fmla="*/ 3541300 w 6829615"/>
              <a:gd name="connsiteY138" fmla="*/ 1991868 h 4031170"/>
              <a:gd name="connsiteX139" fmla="*/ 3252216 w 6829615"/>
              <a:gd name="connsiteY139" fmla="*/ 1993011 h 4031170"/>
              <a:gd name="connsiteX140" fmla="*/ 3047333 w 6829615"/>
              <a:gd name="connsiteY140" fmla="*/ 2336959 h 4031170"/>
              <a:gd name="connsiteX141" fmla="*/ 3044381 w 6829615"/>
              <a:gd name="connsiteY141" fmla="*/ 2783681 h 4031170"/>
              <a:gd name="connsiteX142" fmla="*/ 2685479 w 6829615"/>
              <a:gd name="connsiteY142" fmla="*/ 3357848 h 4031170"/>
              <a:gd name="connsiteX143" fmla="*/ 2685479 w 6829615"/>
              <a:gd name="connsiteY143" fmla="*/ 3542633 h 4031170"/>
              <a:gd name="connsiteX144" fmla="*/ 2572417 w 6829615"/>
              <a:gd name="connsiteY144" fmla="*/ 3729704 h 4031170"/>
              <a:gd name="connsiteX145" fmla="*/ 2429923 w 6829615"/>
              <a:gd name="connsiteY145" fmla="*/ 3729704 h 4031170"/>
              <a:gd name="connsiteX146" fmla="*/ 2262092 w 6829615"/>
              <a:gd name="connsiteY146" fmla="*/ 3510820 h 4031170"/>
              <a:gd name="connsiteX147" fmla="*/ 2262092 w 6829615"/>
              <a:gd name="connsiteY147" fmla="*/ 3249454 h 4031170"/>
              <a:gd name="connsiteX148" fmla="*/ 2009489 w 6829615"/>
              <a:gd name="connsiteY148" fmla="*/ 2827115 h 4031170"/>
              <a:gd name="connsiteX149" fmla="*/ 2009489 w 6829615"/>
              <a:gd name="connsiteY149" fmla="*/ 2579941 h 4031170"/>
              <a:gd name="connsiteX150" fmla="*/ 1868900 w 6829615"/>
              <a:gd name="connsiteY150" fmla="*/ 2338483 h 4031170"/>
              <a:gd name="connsiteX151" fmla="*/ 1868900 w 6829615"/>
              <a:gd name="connsiteY151" fmla="*/ 1931575 h 4031170"/>
              <a:gd name="connsiteX152" fmla="*/ 1692974 w 6829615"/>
              <a:gd name="connsiteY152" fmla="*/ 1611154 h 4031170"/>
              <a:gd name="connsiteX153" fmla="*/ 903827 w 6829615"/>
              <a:gd name="connsiteY153" fmla="*/ 1611154 h 4031170"/>
              <a:gd name="connsiteX154" fmla="*/ 800481 w 6829615"/>
              <a:gd name="connsiteY154" fmla="*/ 1746314 h 4031170"/>
              <a:gd name="connsiteX155" fmla="*/ 513398 w 6829615"/>
              <a:gd name="connsiteY155" fmla="*/ 1746314 h 4031170"/>
              <a:gd name="connsiteX156" fmla="*/ 267653 w 6829615"/>
              <a:gd name="connsiteY156" fmla="*/ 1391984 h 4031170"/>
              <a:gd name="connsiteX157" fmla="*/ 258413 w 6829615"/>
              <a:gd name="connsiteY157" fmla="*/ 954119 h 4031170"/>
              <a:gd name="connsiteX158" fmla="*/ 644843 w 6829615"/>
              <a:gd name="connsiteY158" fmla="*/ 269462 h 4031170"/>
              <a:gd name="connsiteX159" fmla="*/ 1195102 w 6829615"/>
              <a:gd name="connsiteY159" fmla="*/ 269462 h 4031170"/>
              <a:gd name="connsiteX160" fmla="*/ 1397984 w 6829615"/>
              <a:gd name="connsiteY160" fmla="*/ 616172 h 4031170"/>
              <a:gd name="connsiteX161" fmla="*/ 1777937 w 6829615"/>
              <a:gd name="connsiteY161" fmla="*/ 616172 h 4031170"/>
              <a:gd name="connsiteX162" fmla="*/ 1962722 w 6829615"/>
              <a:gd name="connsiteY162" fmla="*/ 278987 h 4031170"/>
              <a:gd name="connsiteX163" fmla="*/ 2831402 w 6829615"/>
              <a:gd name="connsiteY163" fmla="*/ 278987 h 4031170"/>
              <a:gd name="connsiteX164" fmla="*/ 3219545 w 6829615"/>
              <a:gd name="connsiteY164" fmla="*/ 815435 h 4031170"/>
              <a:gd name="connsiteX165" fmla="*/ 3219069 w 6829615"/>
              <a:gd name="connsiteY165" fmla="*/ 1140905 h 4031170"/>
              <a:gd name="connsiteX166" fmla="*/ 3378041 w 6829615"/>
              <a:gd name="connsiteY166" fmla="*/ 1414082 h 4031170"/>
              <a:gd name="connsiteX167" fmla="*/ 4152138 w 6829615"/>
              <a:gd name="connsiteY167" fmla="*/ 1414082 h 4031170"/>
              <a:gd name="connsiteX168" fmla="*/ 3689318 w 6829615"/>
              <a:gd name="connsiteY168" fmla="*/ 2223326 h 4031170"/>
              <a:gd name="connsiteX169" fmla="*/ 3462719 w 6829615"/>
              <a:gd name="connsiteY169" fmla="*/ 2220944 h 4031170"/>
              <a:gd name="connsiteX170" fmla="*/ 3312128 w 6829615"/>
              <a:gd name="connsiteY170" fmla="*/ 2458498 h 4031170"/>
              <a:gd name="connsiteX171" fmla="*/ 3312128 w 6829615"/>
              <a:gd name="connsiteY171" fmla="*/ 2864263 h 4031170"/>
              <a:gd name="connsiteX172" fmla="*/ 2926175 w 6829615"/>
              <a:gd name="connsiteY172" fmla="*/ 3469386 h 4031170"/>
              <a:gd name="connsiteX173" fmla="*/ 2926175 w 6829615"/>
              <a:gd name="connsiteY173" fmla="*/ 3685604 h 4031170"/>
              <a:gd name="connsiteX174" fmla="*/ 2718340 w 6829615"/>
              <a:gd name="connsiteY174" fmla="*/ 4031171 h 40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29615" h="4031170">
                <a:moveTo>
                  <a:pt x="2718340" y="4031171"/>
                </a:moveTo>
                <a:lnTo>
                  <a:pt x="2288381" y="4028504"/>
                </a:lnTo>
                <a:lnTo>
                  <a:pt x="1978724" y="3663887"/>
                </a:lnTo>
                <a:lnTo>
                  <a:pt x="1978724" y="3314129"/>
                </a:lnTo>
                <a:lnTo>
                  <a:pt x="1742980" y="2885599"/>
                </a:lnTo>
                <a:lnTo>
                  <a:pt x="1743742" y="2627662"/>
                </a:lnTo>
                <a:lnTo>
                  <a:pt x="1603534" y="2383631"/>
                </a:lnTo>
                <a:lnTo>
                  <a:pt x="1603534" y="1988344"/>
                </a:lnTo>
                <a:lnTo>
                  <a:pt x="1563624" y="1916906"/>
                </a:lnTo>
                <a:lnTo>
                  <a:pt x="1009840" y="1916906"/>
                </a:lnTo>
                <a:lnTo>
                  <a:pt x="947833" y="2024443"/>
                </a:lnTo>
                <a:lnTo>
                  <a:pt x="351282" y="2024443"/>
                </a:lnTo>
                <a:lnTo>
                  <a:pt x="0" y="1478661"/>
                </a:lnTo>
                <a:lnTo>
                  <a:pt x="0" y="860965"/>
                </a:lnTo>
                <a:lnTo>
                  <a:pt x="512636" y="0"/>
                </a:lnTo>
                <a:lnTo>
                  <a:pt x="1361408" y="0"/>
                </a:lnTo>
                <a:lnTo>
                  <a:pt x="1537526" y="290417"/>
                </a:lnTo>
                <a:lnTo>
                  <a:pt x="1638967" y="289751"/>
                </a:lnTo>
                <a:lnTo>
                  <a:pt x="1798130" y="0"/>
                </a:lnTo>
                <a:lnTo>
                  <a:pt x="6829616" y="0"/>
                </a:lnTo>
                <a:lnTo>
                  <a:pt x="6829616" y="161925"/>
                </a:lnTo>
                <a:lnTo>
                  <a:pt x="1893951" y="161925"/>
                </a:lnTo>
                <a:lnTo>
                  <a:pt x="1735169" y="451104"/>
                </a:lnTo>
                <a:lnTo>
                  <a:pt x="1446752" y="452914"/>
                </a:lnTo>
                <a:lnTo>
                  <a:pt x="1270254" y="161925"/>
                </a:lnTo>
                <a:lnTo>
                  <a:pt x="604647" y="161925"/>
                </a:lnTo>
                <a:lnTo>
                  <a:pt x="161925" y="905447"/>
                </a:lnTo>
                <a:lnTo>
                  <a:pt x="161925" y="1431036"/>
                </a:lnTo>
                <a:lnTo>
                  <a:pt x="439674" y="1862518"/>
                </a:lnTo>
                <a:lnTo>
                  <a:pt x="854297" y="1862518"/>
                </a:lnTo>
                <a:lnTo>
                  <a:pt x="916305" y="1754981"/>
                </a:lnTo>
                <a:lnTo>
                  <a:pt x="1658684" y="1754981"/>
                </a:lnTo>
                <a:lnTo>
                  <a:pt x="1765459" y="1946148"/>
                </a:lnTo>
                <a:lnTo>
                  <a:pt x="1765459" y="2340388"/>
                </a:lnTo>
                <a:lnTo>
                  <a:pt x="1905762" y="2584704"/>
                </a:lnTo>
                <a:lnTo>
                  <a:pt x="1905000" y="2844260"/>
                </a:lnTo>
                <a:lnTo>
                  <a:pt x="2140649" y="3272504"/>
                </a:lnTo>
                <a:lnTo>
                  <a:pt x="2140649" y="3604451"/>
                </a:lnTo>
                <a:lnTo>
                  <a:pt x="2363724" y="3867055"/>
                </a:lnTo>
                <a:lnTo>
                  <a:pt x="2627090" y="3868674"/>
                </a:lnTo>
                <a:lnTo>
                  <a:pt x="2764250" y="3640646"/>
                </a:lnTo>
                <a:lnTo>
                  <a:pt x="2764250" y="3422047"/>
                </a:lnTo>
                <a:lnTo>
                  <a:pt x="3150203" y="2817019"/>
                </a:lnTo>
                <a:lnTo>
                  <a:pt x="3150203" y="2411444"/>
                </a:lnTo>
                <a:lnTo>
                  <a:pt x="3374231" y="2058067"/>
                </a:lnTo>
                <a:lnTo>
                  <a:pt x="3595973" y="2060448"/>
                </a:lnTo>
                <a:lnTo>
                  <a:pt x="3872960" y="1576007"/>
                </a:lnTo>
                <a:lnTo>
                  <a:pt x="3284982" y="1576007"/>
                </a:lnTo>
                <a:lnTo>
                  <a:pt x="3057049" y="1184529"/>
                </a:lnTo>
                <a:lnTo>
                  <a:pt x="3057525" y="867728"/>
                </a:lnTo>
                <a:lnTo>
                  <a:pt x="2748724" y="440912"/>
                </a:lnTo>
                <a:lnTo>
                  <a:pt x="2058638" y="440912"/>
                </a:lnTo>
                <a:lnTo>
                  <a:pt x="1873853" y="778097"/>
                </a:lnTo>
                <a:lnTo>
                  <a:pt x="1305116" y="778097"/>
                </a:lnTo>
                <a:lnTo>
                  <a:pt x="1102233" y="431387"/>
                </a:lnTo>
                <a:lnTo>
                  <a:pt x="739426" y="431387"/>
                </a:lnTo>
                <a:lnTo>
                  <a:pt x="421196" y="995077"/>
                </a:lnTo>
                <a:lnTo>
                  <a:pt x="428435" y="1339787"/>
                </a:lnTo>
                <a:lnTo>
                  <a:pt x="598075" y="1584389"/>
                </a:lnTo>
                <a:lnTo>
                  <a:pt x="720471" y="1584389"/>
                </a:lnTo>
                <a:lnTo>
                  <a:pt x="823817" y="1449229"/>
                </a:lnTo>
                <a:lnTo>
                  <a:pt x="1788795" y="1449229"/>
                </a:lnTo>
                <a:lnTo>
                  <a:pt x="2030825" y="1890046"/>
                </a:lnTo>
                <a:lnTo>
                  <a:pt x="2030825" y="2294763"/>
                </a:lnTo>
                <a:lnTo>
                  <a:pt x="2171414" y="2536222"/>
                </a:lnTo>
                <a:lnTo>
                  <a:pt x="2171414" y="2782348"/>
                </a:lnTo>
                <a:lnTo>
                  <a:pt x="2424017" y="3204782"/>
                </a:lnTo>
                <a:lnTo>
                  <a:pt x="2424017" y="3455861"/>
                </a:lnTo>
                <a:lnTo>
                  <a:pt x="2493740" y="3546824"/>
                </a:lnTo>
                <a:lnTo>
                  <a:pt x="2523554" y="3497485"/>
                </a:lnTo>
                <a:lnTo>
                  <a:pt x="2523554" y="3311366"/>
                </a:lnTo>
                <a:lnTo>
                  <a:pt x="2882741" y="2736723"/>
                </a:lnTo>
                <a:lnTo>
                  <a:pt x="2885694" y="2291906"/>
                </a:lnTo>
                <a:lnTo>
                  <a:pt x="3159919" y="1831372"/>
                </a:lnTo>
                <a:lnTo>
                  <a:pt x="3448907" y="1830324"/>
                </a:lnTo>
                <a:lnTo>
                  <a:pt x="3463671" y="1805464"/>
                </a:lnTo>
                <a:lnTo>
                  <a:pt x="3139345" y="1804226"/>
                </a:lnTo>
                <a:lnTo>
                  <a:pt x="2795969" y="1241489"/>
                </a:lnTo>
                <a:lnTo>
                  <a:pt x="2806637" y="959072"/>
                </a:lnTo>
                <a:lnTo>
                  <a:pt x="2635949" y="708470"/>
                </a:lnTo>
                <a:lnTo>
                  <a:pt x="2205990" y="706184"/>
                </a:lnTo>
                <a:lnTo>
                  <a:pt x="2018062" y="1035939"/>
                </a:lnTo>
                <a:lnTo>
                  <a:pt x="1136618" y="1035939"/>
                </a:lnTo>
                <a:lnTo>
                  <a:pt x="966883" y="719423"/>
                </a:lnTo>
                <a:lnTo>
                  <a:pt x="906685" y="719423"/>
                </a:lnTo>
                <a:lnTo>
                  <a:pt x="707708" y="1096709"/>
                </a:lnTo>
                <a:lnTo>
                  <a:pt x="708946" y="1153954"/>
                </a:lnTo>
                <a:lnTo>
                  <a:pt x="2203990" y="1154811"/>
                </a:lnTo>
                <a:lnTo>
                  <a:pt x="2355342" y="858298"/>
                </a:lnTo>
                <a:lnTo>
                  <a:pt x="2559749" y="858298"/>
                </a:lnTo>
                <a:lnTo>
                  <a:pt x="2688812" y="1028414"/>
                </a:lnTo>
                <a:lnTo>
                  <a:pt x="2688812" y="1353217"/>
                </a:lnTo>
                <a:lnTo>
                  <a:pt x="3007519" y="1887664"/>
                </a:lnTo>
                <a:lnTo>
                  <a:pt x="2767394" y="2247900"/>
                </a:lnTo>
                <a:lnTo>
                  <a:pt x="2761583" y="2718149"/>
                </a:lnTo>
                <a:lnTo>
                  <a:pt x="2500313" y="3111532"/>
                </a:lnTo>
                <a:lnTo>
                  <a:pt x="2262378" y="2712149"/>
                </a:lnTo>
                <a:lnTo>
                  <a:pt x="2262378" y="2427446"/>
                </a:lnTo>
                <a:lnTo>
                  <a:pt x="2158460" y="2257139"/>
                </a:lnTo>
                <a:lnTo>
                  <a:pt x="2158460" y="1856708"/>
                </a:lnTo>
                <a:lnTo>
                  <a:pt x="1913192" y="1441323"/>
                </a:lnTo>
                <a:lnTo>
                  <a:pt x="2415635" y="1441323"/>
                </a:lnTo>
                <a:lnTo>
                  <a:pt x="2683859" y="1863090"/>
                </a:lnTo>
                <a:lnTo>
                  <a:pt x="2526887" y="2100072"/>
                </a:lnTo>
                <a:lnTo>
                  <a:pt x="2526887" y="2145125"/>
                </a:lnTo>
                <a:lnTo>
                  <a:pt x="2364962" y="2145125"/>
                </a:lnTo>
                <a:lnTo>
                  <a:pt x="2364962" y="2051399"/>
                </a:lnTo>
                <a:lnTo>
                  <a:pt x="2490788" y="1861280"/>
                </a:lnTo>
                <a:lnTo>
                  <a:pt x="2326672" y="1603248"/>
                </a:lnTo>
                <a:lnTo>
                  <a:pt x="2196846" y="1603248"/>
                </a:lnTo>
                <a:lnTo>
                  <a:pt x="2320385" y="1812417"/>
                </a:lnTo>
                <a:lnTo>
                  <a:pt x="2320385" y="2211705"/>
                </a:lnTo>
                <a:lnTo>
                  <a:pt x="2424303" y="2381917"/>
                </a:lnTo>
                <a:lnTo>
                  <a:pt x="2424303" y="2667572"/>
                </a:lnTo>
                <a:lnTo>
                  <a:pt x="2507742" y="2807684"/>
                </a:lnTo>
                <a:lnTo>
                  <a:pt x="2600325" y="2668334"/>
                </a:lnTo>
                <a:lnTo>
                  <a:pt x="2606040" y="2197894"/>
                </a:lnTo>
                <a:lnTo>
                  <a:pt x="2816066" y="1882902"/>
                </a:lnTo>
                <a:lnTo>
                  <a:pt x="2526887" y="1397794"/>
                </a:lnTo>
                <a:lnTo>
                  <a:pt x="2526887" y="1082897"/>
                </a:lnTo>
                <a:lnTo>
                  <a:pt x="2479358" y="1020223"/>
                </a:lnTo>
                <a:lnTo>
                  <a:pt x="2454497" y="1020223"/>
                </a:lnTo>
                <a:lnTo>
                  <a:pt x="2303145" y="1316831"/>
                </a:lnTo>
                <a:lnTo>
                  <a:pt x="759143" y="1315974"/>
                </a:lnTo>
                <a:lnTo>
                  <a:pt x="686562" y="1377315"/>
                </a:lnTo>
                <a:lnTo>
                  <a:pt x="602647" y="1378744"/>
                </a:lnTo>
                <a:lnTo>
                  <a:pt x="550259" y="1309402"/>
                </a:lnTo>
                <a:lnTo>
                  <a:pt x="545021" y="1058228"/>
                </a:lnTo>
                <a:lnTo>
                  <a:pt x="808958" y="557498"/>
                </a:lnTo>
                <a:lnTo>
                  <a:pt x="1063752" y="557498"/>
                </a:lnTo>
                <a:lnTo>
                  <a:pt x="1233583" y="874014"/>
                </a:lnTo>
                <a:lnTo>
                  <a:pt x="1923955" y="874014"/>
                </a:lnTo>
                <a:lnTo>
                  <a:pt x="2112264" y="543687"/>
                </a:lnTo>
                <a:lnTo>
                  <a:pt x="2721864" y="547021"/>
                </a:lnTo>
                <a:lnTo>
                  <a:pt x="2970371" y="911924"/>
                </a:lnTo>
                <a:lnTo>
                  <a:pt x="2959608" y="1198721"/>
                </a:lnTo>
                <a:lnTo>
                  <a:pt x="3230404" y="1642682"/>
                </a:lnTo>
                <a:lnTo>
                  <a:pt x="3747326" y="1644587"/>
                </a:lnTo>
                <a:lnTo>
                  <a:pt x="3541300" y="1991868"/>
                </a:lnTo>
                <a:lnTo>
                  <a:pt x="3252216" y="1993011"/>
                </a:lnTo>
                <a:lnTo>
                  <a:pt x="3047333" y="2336959"/>
                </a:lnTo>
                <a:lnTo>
                  <a:pt x="3044381" y="2783681"/>
                </a:lnTo>
                <a:lnTo>
                  <a:pt x="2685479" y="3357848"/>
                </a:lnTo>
                <a:lnTo>
                  <a:pt x="2685479" y="3542633"/>
                </a:lnTo>
                <a:lnTo>
                  <a:pt x="2572417" y="3729704"/>
                </a:lnTo>
                <a:lnTo>
                  <a:pt x="2429923" y="3729704"/>
                </a:lnTo>
                <a:lnTo>
                  <a:pt x="2262092" y="3510820"/>
                </a:lnTo>
                <a:lnTo>
                  <a:pt x="2262092" y="3249454"/>
                </a:lnTo>
                <a:lnTo>
                  <a:pt x="2009489" y="2827115"/>
                </a:lnTo>
                <a:lnTo>
                  <a:pt x="2009489" y="2579941"/>
                </a:lnTo>
                <a:lnTo>
                  <a:pt x="1868900" y="2338483"/>
                </a:lnTo>
                <a:lnTo>
                  <a:pt x="1868900" y="1931575"/>
                </a:lnTo>
                <a:lnTo>
                  <a:pt x="1692974" y="1611154"/>
                </a:lnTo>
                <a:lnTo>
                  <a:pt x="903827" y="1611154"/>
                </a:lnTo>
                <a:lnTo>
                  <a:pt x="800481" y="1746314"/>
                </a:lnTo>
                <a:lnTo>
                  <a:pt x="513398" y="1746314"/>
                </a:lnTo>
                <a:lnTo>
                  <a:pt x="267653" y="1391984"/>
                </a:lnTo>
                <a:lnTo>
                  <a:pt x="258413" y="954119"/>
                </a:lnTo>
                <a:lnTo>
                  <a:pt x="644843" y="269462"/>
                </a:lnTo>
                <a:lnTo>
                  <a:pt x="1195102" y="269462"/>
                </a:lnTo>
                <a:lnTo>
                  <a:pt x="1397984" y="616172"/>
                </a:lnTo>
                <a:lnTo>
                  <a:pt x="1777937" y="616172"/>
                </a:lnTo>
                <a:lnTo>
                  <a:pt x="1962722" y="278987"/>
                </a:lnTo>
                <a:lnTo>
                  <a:pt x="2831402" y="278987"/>
                </a:lnTo>
                <a:lnTo>
                  <a:pt x="3219545" y="815435"/>
                </a:lnTo>
                <a:lnTo>
                  <a:pt x="3219069" y="1140905"/>
                </a:lnTo>
                <a:lnTo>
                  <a:pt x="3378041" y="1414082"/>
                </a:lnTo>
                <a:lnTo>
                  <a:pt x="4152138" y="1414082"/>
                </a:lnTo>
                <a:lnTo>
                  <a:pt x="3689318" y="2223326"/>
                </a:lnTo>
                <a:lnTo>
                  <a:pt x="3462719" y="2220944"/>
                </a:lnTo>
                <a:lnTo>
                  <a:pt x="3312128" y="2458498"/>
                </a:lnTo>
                <a:lnTo>
                  <a:pt x="3312128" y="2864263"/>
                </a:lnTo>
                <a:lnTo>
                  <a:pt x="2926175" y="3469386"/>
                </a:lnTo>
                <a:lnTo>
                  <a:pt x="2926175" y="3685604"/>
                </a:lnTo>
                <a:lnTo>
                  <a:pt x="2718340" y="4031171"/>
                </a:lnTo>
                <a:close/>
              </a:path>
            </a:pathLst>
          </a:custGeom>
          <a:solidFill>
            <a:srgbClr val="7DBA0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9285813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58258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4058515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2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6440541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34BADCB9-88FF-853F-7CB9-967EA4291D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6A86DB4-8A0E-5852-A8CA-D1F0D4A0FEF2}"/>
              </a:ext>
            </a:extLst>
          </p:cNvPr>
          <p:cNvSpPr/>
          <p:nvPr userDrawn="1"/>
        </p:nvSpPr>
        <p:spPr>
          <a:xfrm>
            <a:off x="0" y="0"/>
            <a:ext cx="12192000" cy="6858000"/>
          </a:xfrm>
          <a:prstGeom prst="rect">
            <a:avLst/>
          </a:prstGeom>
          <a:solidFill>
            <a:schemeClr val="bg2">
              <a:alpha val="16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3065186"/>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9222224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A49168BD-AB6E-E377-7CEA-0E7694373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44608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3" name="Picture Placeholder 433" descr="Colourful cargo containers stacked with a worker standing">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8070249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28270678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3" name="Picture Placeholder 433">
            <a:extLst>
              <a:ext uri="{FF2B5EF4-FFF2-40B4-BE49-F238E27FC236}">
                <a16:creationId xmlns:a16="http://schemas.microsoft.com/office/drawing/2014/main" id="{77320EED-BBCB-8B40-2FBE-A4CA2CA7D02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5483263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Placeholder 115" descr="Top view of a wooden desk with a white keyboard, drawing plan and drawing compass, and pens.">
            <a:extLst>
              <a:ext uri="{FF2B5EF4-FFF2-40B4-BE49-F238E27FC236}">
                <a16:creationId xmlns:a16="http://schemas.microsoft.com/office/drawing/2014/main" id="{A49168BD-AB6E-E377-7CEA-0E76943733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1972970" y="1078100"/>
            <a:ext cx="7412385" cy="1846659"/>
          </a:xfrm>
          <a:prstGeom prst="rect">
            <a:avLst/>
          </a:prstGeom>
        </p:spPr>
        <p:txBody>
          <a:bodyPr wrap="square" anchor="t">
            <a:spAutoFit/>
          </a:bodyPr>
          <a:lstStyle>
            <a:lvl1pPr algn="l">
              <a:defRPr sz="6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1972970" y="3042909"/>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0661925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03052B-FD7C-5F6E-F4C3-E7934862BFE4}"/>
              </a:ext>
            </a:extLst>
          </p:cNvPr>
          <p:cNvSpPr>
            <a:spLocks noGrp="1"/>
          </p:cNvSpPr>
          <p:nvPr>
            <p:ph type="pic" sz="quarter" idx="10"/>
          </p:nvPr>
        </p:nvSpPr>
        <p:spPr>
          <a:xfrm>
            <a:off x="0" y="0"/>
            <a:ext cx="12192000" cy="6858000"/>
          </a:xfrm>
          <a:prstGeom prst="rect">
            <a:avLst/>
          </a:prstGeom>
          <a:pattFill prst="diagBrick">
            <a:fgClr>
              <a:schemeClr val="tx2">
                <a:lumMod val="20000"/>
                <a:lumOff val="80000"/>
              </a:schemeClr>
            </a:fgClr>
            <a:bgClr>
              <a:schemeClr val="bg1"/>
            </a:bgClr>
          </a:pattFill>
        </p:spPr>
        <p:txBody>
          <a:bodyPr/>
          <a:lstStyle/>
          <a:p>
            <a:endParaRPr lang="en-US"/>
          </a:p>
        </p:txBody>
      </p:sp>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618755" y="4945338"/>
            <a:ext cx="6543458" cy="615553"/>
          </a:xfrm>
          <a:prstGeom prst="rect">
            <a:avLst/>
          </a:prstGeom>
        </p:spPr>
        <p:txBody>
          <a:bodyPr wrap="none" anchor="t">
            <a:spAutoFit/>
          </a:bodyPr>
          <a:lstStyle>
            <a:lvl1pPr>
              <a:defRPr sz="4000">
                <a:solidFill>
                  <a:schemeClr val="tx1"/>
                </a:solidFill>
              </a:defRPr>
            </a:lvl1pPr>
          </a:lstStyle>
          <a:p>
            <a:r>
              <a:rPr lang="en-GB"/>
              <a:t>Click to edit Master title style</a:t>
            </a:r>
            <a:endParaRPr lang="en-US"/>
          </a:p>
        </p:txBody>
      </p:sp>
      <p:sp>
        <p:nvSpPr>
          <p:cNvPr id="2" name="Text Placeholder 18">
            <a:extLst>
              <a:ext uri="{FF2B5EF4-FFF2-40B4-BE49-F238E27FC236}">
                <a16:creationId xmlns:a16="http://schemas.microsoft.com/office/drawing/2014/main" id="{DF6E4E97-1E5E-6DDC-51DB-51A4B672C716}"/>
              </a:ext>
            </a:extLst>
          </p:cNvPr>
          <p:cNvSpPr>
            <a:spLocks noGrp="1"/>
          </p:cNvSpPr>
          <p:nvPr>
            <p:ph type="body" sz="quarter" idx="13" hasCustomPrompt="1"/>
          </p:nvPr>
        </p:nvSpPr>
        <p:spPr>
          <a:xfrm>
            <a:off x="618757" y="5572294"/>
            <a:ext cx="5032147" cy="484025"/>
          </a:xfrm>
          <a:prstGeom prst="rect">
            <a:avLst/>
          </a:prstGeom>
        </p:spPr>
        <p:txBody>
          <a:bodyPr wrap="none" tIns="144000">
            <a:spAutoFit/>
          </a:bodyPr>
          <a:lstStyle>
            <a:lvl1pP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Tree>
    <p:extLst>
      <p:ext uri="{BB962C8B-B14F-4D97-AF65-F5344CB8AC3E}">
        <p14:creationId xmlns:p14="http://schemas.microsoft.com/office/powerpoint/2010/main" val="22836779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3994C55-28DA-03C2-35BC-75F5D854F08B}"/>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13" name="Picture Placeholder 12">
            <a:extLst>
              <a:ext uri="{FF2B5EF4-FFF2-40B4-BE49-F238E27FC236}">
                <a16:creationId xmlns:a16="http://schemas.microsoft.com/office/drawing/2014/main" id="{BC6E6505-1432-E7D8-FDE1-5E4383D36C37}"/>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26" name="Text Placeholder 13">
            <a:extLst>
              <a:ext uri="{FF2B5EF4-FFF2-40B4-BE49-F238E27FC236}">
                <a16:creationId xmlns:a16="http://schemas.microsoft.com/office/drawing/2014/main" id="{615020BA-0B93-180E-3093-EAC3BCC73BB5}"/>
              </a:ext>
            </a:extLst>
          </p:cNvPr>
          <p:cNvSpPr>
            <a:spLocks noGrp="1"/>
          </p:cNvSpPr>
          <p:nvPr>
            <p:ph type="body" sz="quarter" idx="16" hasCustomPrompt="1"/>
          </p:nvPr>
        </p:nvSpPr>
        <p:spPr>
          <a:xfrm>
            <a:off x="283474" y="517638"/>
            <a:ext cx="5889053" cy="410136"/>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Freeform 1">
            <a:extLst>
              <a:ext uri="{FF2B5EF4-FFF2-40B4-BE49-F238E27FC236}">
                <a16:creationId xmlns:a16="http://schemas.microsoft.com/office/drawing/2014/main" id="{8CE118E7-1BAE-2BED-BA49-7E01CC506DEF}"/>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3" name="Rectangle 2">
            <a:extLst>
              <a:ext uri="{FF2B5EF4-FFF2-40B4-BE49-F238E27FC236}">
                <a16:creationId xmlns:a16="http://schemas.microsoft.com/office/drawing/2014/main" id="{72C509C7-F64D-8D3C-E43B-BAD58331BD3D}"/>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549A9D43-FF02-9C81-1CFC-D9B244C57579}"/>
              </a:ext>
            </a:extLst>
          </p:cNvPr>
          <p:cNvSpPr>
            <a:spLocks noGrp="1"/>
          </p:cNvSpPr>
          <p:nvPr>
            <p:ph type="title" hasCustomPrompt="1"/>
          </p:nvPr>
        </p:nvSpPr>
        <p:spPr>
          <a:xfrm>
            <a:off x="283474" y="152400"/>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6" name="Graphic 64">
            <a:extLst>
              <a:ext uri="{FF2B5EF4-FFF2-40B4-BE49-F238E27FC236}">
                <a16:creationId xmlns:a16="http://schemas.microsoft.com/office/drawing/2014/main" id="{410252B1-98B5-8714-70E8-11601AFBFE16}"/>
              </a:ext>
            </a:extLst>
          </p:cNvPr>
          <p:cNvSpPr/>
          <p:nvPr userDrawn="1"/>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Tree>
    <p:extLst>
      <p:ext uri="{BB962C8B-B14F-4D97-AF65-F5344CB8AC3E}">
        <p14:creationId xmlns:p14="http://schemas.microsoft.com/office/powerpoint/2010/main" val="4674954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C4A12B0-5BA2-5100-AAD4-E12E3C1737AF}"/>
              </a:ext>
            </a:extLst>
          </p:cNvPr>
          <p:cNvSpPr/>
          <p:nvPr userDrawn="1"/>
        </p:nvSpPr>
        <p:spPr>
          <a:xfrm>
            <a:off x="0" y="0"/>
            <a:ext cx="12192001"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Picture Placeholder 1">
            <a:extLst>
              <a:ext uri="{FF2B5EF4-FFF2-40B4-BE49-F238E27FC236}">
                <a16:creationId xmlns:a16="http://schemas.microsoft.com/office/drawing/2014/main" id="{29B7C479-2D3F-2960-139A-D5BB63A41E19}"/>
              </a:ext>
            </a:extLst>
          </p:cNvPr>
          <p:cNvSpPr>
            <a:spLocks noGrp="1"/>
          </p:cNvSpPr>
          <p:nvPr>
            <p:ph type="pic" sz="quarter" idx="12"/>
          </p:nvPr>
        </p:nvSpPr>
        <p:spPr>
          <a:xfrm>
            <a:off x="7282543" y="-1"/>
            <a:ext cx="4909457" cy="6858257"/>
          </a:xfrm>
          <a:custGeom>
            <a:avLst/>
            <a:gdLst>
              <a:gd name="connsiteX0" fmla="*/ 0 w 4401300"/>
              <a:gd name="connsiteY0" fmla="*/ 0 h 6148388"/>
              <a:gd name="connsiteX1" fmla="*/ 4401300 w 4401300"/>
              <a:gd name="connsiteY1" fmla="*/ 0 h 6148388"/>
              <a:gd name="connsiteX2" fmla="*/ 4401300 w 4401300"/>
              <a:gd name="connsiteY2" fmla="*/ 6148388 h 6148388"/>
              <a:gd name="connsiteX3" fmla="*/ 3799566 w 4401300"/>
              <a:gd name="connsiteY3" fmla="*/ 6148388 h 6148388"/>
            </a:gdLst>
            <a:ahLst/>
            <a:cxnLst>
              <a:cxn ang="0">
                <a:pos x="connsiteX0" y="connsiteY0"/>
              </a:cxn>
              <a:cxn ang="0">
                <a:pos x="connsiteX1" y="connsiteY1"/>
              </a:cxn>
              <a:cxn ang="0">
                <a:pos x="connsiteX2" y="connsiteY2"/>
              </a:cxn>
              <a:cxn ang="0">
                <a:pos x="connsiteX3" y="connsiteY3"/>
              </a:cxn>
            </a:cxnLst>
            <a:rect l="l" t="t" r="r" b="b"/>
            <a:pathLst>
              <a:path w="4401300" h="6148388">
                <a:moveTo>
                  <a:pt x="0" y="0"/>
                </a:moveTo>
                <a:lnTo>
                  <a:pt x="4401300" y="0"/>
                </a:lnTo>
                <a:lnTo>
                  <a:pt x="4401300" y="6148388"/>
                </a:lnTo>
                <a:lnTo>
                  <a:pt x="3799566" y="6148388"/>
                </a:lnTo>
                <a:close/>
              </a:path>
            </a:pathLst>
          </a:custGeom>
          <a:pattFill prst="diagBrick">
            <a:fgClr>
              <a:schemeClr val="tx2">
                <a:lumMod val="20000"/>
                <a:lumOff val="80000"/>
              </a:schemeClr>
            </a:fgClr>
            <a:bgClr>
              <a:schemeClr val="bg1"/>
            </a:bgClr>
          </a:pattFill>
        </p:spPr>
        <p:txBody>
          <a:bodyPr wrap="square">
            <a:noAutofit/>
          </a:bodyPr>
          <a:lstStyle/>
          <a:p>
            <a:endParaRPr lang="en-US"/>
          </a:p>
        </p:txBody>
      </p:sp>
      <p:sp>
        <p:nvSpPr>
          <p:cNvPr id="10" name="Freeform 9">
            <a:extLst>
              <a:ext uri="{FF2B5EF4-FFF2-40B4-BE49-F238E27FC236}">
                <a16:creationId xmlns:a16="http://schemas.microsoft.com/office/drawing/2014/main" id="{FD2AA106-02DD-9456-5F7D-D1D25492CD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11" name="Rectangle 10">
            <a:extLst>
              <a:ext uri="{FF2B5EF4-FFF2-40B4-BE49-F238E27FC236}">
                <a16:creationId xmlns:a16="http://schemas.microsoft.com/office/drawing/2014/main" id="{05D950A5-2828-221A-996F-175C05E4BB43}"/>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4" name="Title 1">
            <a:extLst>
              <a:ext uri="{FF2B5EF4-FFF2-40B4-BE49-F238E27FC236}">
                <a16:creationId xmlns:a16="http://schemas.microsoft.com/office/drawing/2014/main" id="{8470FF30-5A43-9A43-5905-5F595AC738D5}"/>
              </a:ext>
            </a:extLst>
          </p:cNvPr>
          <p:cNvSpPr>
            <a:spLocks noGrp="1"/>
          </p:cNvSpPr>
          <p:nvPr>
            <p:ph type="title" hasCustomPrompt="1"/>
          </p:nvPr>
        </p:nvSpPr>
        <p:spPr>
          <a:xfrm>
            <a:off x="303795" y="2844800"/>
            <a:ext cx="6212351" cy="410136"/>
          </a:xfrm>
          <a:prstGeom prst="rect">
            <a:avLst/>
          </a:prstGeom>
        </p:spPr>
        <p:txBody>
          <a:bodyPr>
            <a:noAutofit/>
          </a:bodyPr>
          <a:lstStyle>
            <a:lvl1pPr>
              <a:defRPr sz="4000"/>
            </a:lvl1pPr>
          </a:lstStyle>
          <a:p>
            <a:r>
              <a:rPr lang="en-US"/>
              <a:t>Click To Edit Custom Slide</a:t>
            </a:r>
            <a:endParaRPr lang="en-GB"/>
          </a:p>
        </p:txBody>
      </p:sp>
      <p:sp>
        <p:nvSpPr>
          <p:cNvPr id="65" name="Text Placeholder 13">
            <a:extLst>
              <a:ext uri="{FF2B5EF4-FFF2-40B4-BE49-F238E27FC236}">
                <a16:creationId xmlns:a16="http://schemas.microsoft.com/office/drawing/2014/main" id="{0A8EDC15-9113-2840-B13A-8731DFA92A06}"/>
              </a:ext>
            </a:extLst>
          </p:cNvPr>
          <p:cNvSpPr>
            <a:spLocks noGrp="1"/>
          </p:cNvSpPr>
          <p:nvPr>
            <p:ph type="body" sz="quarter" idx="16" hasCustomPrompt="1"/>
          </p:nvPr>
        </p:nvSpPr>
        <p:spPr>
          <a:xfrm>
            <a:off x="303795" y="3548530"/>
            <a:ext cx="5889053" cy="410136"/>
          </a:xfrm>
          <a:prstGeom prst="rect">
            <a:avLst/>
          </a:prstGeom>
        </p:spPr>
        <p:txBody>
          <a:bodyPr wrap="none"/>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6523945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93634" y="528118"/>
            <a:ext cx="5907785" cy="352276"/>
          </a:xfrm>
          <a:prstGeom prst="rect">
            <a:avLst/>
          </a:prstGeom>
        </p:spPr>
        <p:txBody>
          <a:bodyPr wrap="square">
            <a:spAutoFit/>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ext Placeholder 4">
            <a:extLst>
              <a:ext uri="{FF2B5EF4-FFF2-40B4-BE49-F238E27FC236}">
                <a16:creationId xmlns:a16="http://schemas.microsoft.com/office/drawing/2014/main" id="{EF0BAC52-79D1-6BFD-F36B-C7F59E7AB7A6}"/>
              </a:ext>
            </a:extLst>
          </p:cNvPr>
          <p:cNvSpPr>
            <a:spLocks noGrp="1"/>
          </p:cNvSpPr>
          <p:nvPr>
            <p:ph type="body" sz="quarter" idx="17" hasCustomPrompt="1"/>
          </p:nvPr>
        </p:nvSpPr>
        <p:spPr>
          <a:xfrm>
            <a:off x="618755" y="1778000"/>
            <a:ext cx="42037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3" name="Title 1">
            <a:extLst>
              <a:ext uri="{FF2B5EF4-FFF2-40B4-BE49-F238E27FC236}">
                <a16:creationId xmlns:a16="http://schemas.microsoft.com/office/drawing/2014/main" id="{3E1EFCF2-014A-C6FC-8AA7-CCC868BA8A60}"/>
              </a:ext>
            </a:extLst>
          </p:cNvPr>
          <p:cNvSpPr>
            <a:spLocks noGrp="1"/>
          </p:cNvSpPr>
          <p:nvPr>
            <p:ph type="title" hasCustomPrompt="1"/>
          </p:nvPr>
        </p:nvSpPr>
        <p:spPr>
          <a:xfrm>
            <a:off x="283474" y="158786"/>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4416671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72D027E8-2D4E-9357-81F5-234479FBBA1A}"/>
              </a:ext>
            </a:extLst>
          </p:cNvPr>
          <p:cNvSpPr>
            <a:spLocks noGrp="1"/>
          </p:cNvSpPr>
          <p:nvPr>
            <p:ph type="body" sz="quarter" idx="16" hasCustomPrompt="1"/>
          </p:nvPr>
        </p:nvSpPr>
        <p:spPr>
          <a:xfrm>
            <a:off x="283475" y="845445"/>
            <a:ext cx="10079724" cy="352276"/>
          </a:xfrm>
          <a:prstGeom prst="rect">
            <a:avLst/>
          </a:prstGeom>
        </p:spPr>
        <p:txBody>
          <a:bodyPr wrap="square">
            <a:spAutoFit/>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5" name="Text Placeholder 4">
            <a:extLst>
              <a:ext uri="{FF2B5EF4-FFF2-40B4-BE49-F238E27FC236}">
                <a16:creationId xmlns:a16="http://schemas.microsoft.com/office/drawing/2014/main" id="{481F9625-3BD0-8CEF-BB6E-C2D380C4041F}"/>
              </a:ext>
            </a:extLst>
          </p:cNvPr>
          <p:cNvSpPr>
            <a:spLocks noGrp="1"/>
          </p:cNvSpPr>
          <p:nvPr>
            <p:ph type="body" sz="quarter" idx="17" hasCustomPrompt="1"/>
          </p:nvPr>
        </p:nvSpPr>
        <p:spPr>
          <a:xfrm>
            <a:off x="283474" y="1778000"/>
            <a:ext cx="3672000" cy="3902075"/>
          </a:xfrm>
          <a:prstGeom prst="rect">
            <a:avLst/>
          </a:prstGeom>
        </p:spPr>
        <p:txBody>
          <a:bodyPr/>
          <a:lstStyle>
            <a:lvl1pPr marL="0" indent="0" algn="l">
              <a:lnSpc>
                <a:spcPct val="150000"/>
              </a:lnSpc>
              <a:buFont typeface="Arial" panose="020B0604020202020204" pitchFamily="34" charset="0"/>
              <a:buNone/>
              <a:defRPr sz="16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6" name="Text Placeholder 4">
            <a:extLst>
              <a:ext uri="{FF2B5EF4-FFF2-40B4-BE49-F238E27FC236}">
                <a16:creationId xmlns:a16="http://schemas.microsoft.com/office/drawing/2014/main" id="{5CFE821C-A126-325A-A5F7-2E8FCBEC6AC0}"/>
              </a:ext>
            </a:extLst>
          </p:cNvPr>
          <p:cNvSpPr>
            <a:spLocks noGrp="1"/>
          </p:cNvSpPr>
          <p:nvPr>
            <p:ph type="body" sz="quarter" idx="18" hasCustomPrompt="1"/>
          </p:nvPr>
        </p:nvSpPr>
        <p:spPr>
          <a:xfrm>
            <a:off x="4260000"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7" name="Text Placeholder 4">
            <a:extLst>
              <a:ext uri="{FF2B5EF4-FFF2-40B4-BE49-F238E27FC236}">
                <a16:creationId xmlns:a16="http://schemas.microsoft.com/office/drawing/2014/main" id="{177C89CF-65C0-65A1-9053-1E5547FD1A35}"/>
              </a:ext>
            </a:extLst>
          </p:cNvPr>
          <p:cNvSpPr>
            <a:spLocks noGrp="1"/>
          </p:cNvSpPr>
          <p:nvPr>
            <p:ph type="body" sz="quarter" idx="19" hasCustomPrompt="1"/>
          </p:nvPr>
        </p:nvSpPr>
        <p:spPr>
          <a:xfrm>
            <a:off x="8236526" y="1778000"/>
            <a:ext cx="3672000" cy="3902075"/>
          </a:xfrm>
          <a:prstGeom prst="rect">
            <a:avLst/>
          </a:prstGeom>
        </p:spPr>
        <p:txBody>
          <a:bodyPr/>
          <a:lstStyle>
            <a:lvl1pPr marL="0" indent="0" algn="l">
              <a:lnSpc>
                <a:spcPct val="150000"/>
              </a:lnSpc>
              <a:buFont typeface="Arial" panose="020B0604020202020204" pitchFamily="34" charset="0"/>
              <a:buNone/>
              <a:defRPr sz="1400" b="0" i="0">
                <a:solidFill>
                  <a:schemeClr val="tx1">
                    <a:lumMod val="65000"/>
                    <a:lumOff val="35000"/>
                  </a:schemeClr>
                </a:solidFill>
                <a:latin typeface="Apex New Book" panose="02010600040501010103" pitchFamily="2" charset="77"/>
                <a:ea typeface="Apex New Book" panose="02010600040501010103" pitchFamily="2" charset="77"/>
              </a:defRPr>
            </a:lvl1pPr>
            <a:lvl2pPr marL="86575"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2pPr>
            <a:lvl3pPr marL="370647"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3pPr>
            <a:lvl4pPr marL="608728"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4pPr>
            <a:lvl5pPr marL="921209" indent="0" algn="l">
              <a:buNone/>
              <a:defRPr b="0" i="0">
                <a:solidFill>
                  <a:schemeClr val="tx1">
                    <a:lumMod val="65000"/>
                    <a:lumOff val="35000"/>
                  </a:schemeClr>
                </a:solidFill>
                <a:latin typeface="Apex New Book" panose="02010600040501010103" pitchFamily="2" charset="77"/>
                <a:ea typeface="Apex New Book" panose="02010600040501010103" pitchFamily="2" charset="77"/>
              </a:defRPr>
            </a:lvl5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8" name="Title 1">
            <a:extLst>
              <a:ext uri="{FF2B5EF4-FFF2-40B4-BE49-F238E27FC236}">
                <a16:creationId xmlns:a16="http://schemas.microsoft.com/office/drawing/2014/main" id="{F10E32AF-ABB5-810B-6647-AA7A03E11C8C}"/>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4942775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4" name="Picture Placeholder 115" descr="Aerial view of container ship">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9484549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CE057FC0-0CF3-598B-7894-CC63D03D9B7D}"/>
              </a:ext>
            </a:extLst>
          </p:cNvPr>
          <p:cNvSpPr>
            <a:spLocks noGrp="1"/>
          </p:cNvSpPr>
          <p:nvPr>
            <p:ph type="pic" sz="quarter" idx="15"/>
          </p:nvPr>
        </p:nvSpPr>
        <p:spPr>
          <a:xfrm>
            <a:off x="4610100" y="1777883"/>
            <a:ext cx="7581900" cy="3902075"/>
          </a:xfrm>
          <a:prstGeom prst="rect">
            <a:avLst/>
          </a:prstGeom>
          <a:pattFill prst="diagBrick">
            <a:fgClr>
              <a:schemeClr val="tx2">
                <a:lumMod val="20000"/>
                <a:lumOff val="80000"/>
              </a:schemeClr>
            </a:fgClr>
            <a:bgClr>
              <a:schemeClr val="bg1"/>
            </a:bgClr>
          </a:pattFill>
        </p:spPr>
        <p:txBody>
          <a:bodyPr/>
          <a:lstStyle/>
          <a:p>
            <a:endParaRPr lang="en-US"/>
          </a:p>
        </p:txBody>
      </p:sp>
      <p:sp>
        <p:nvSpPr>
          <p:cNvPr id="5" name="Subtitle 2">
            <a:extLst>
              <a:ext uri="{FF2B5EF4-FFF2-40B4-BE49-F238E27FC236}">
                <a16:creationId xmlns:a16="http://schemas.microsoft.com/office/drawing/2014/main" id="{51CA1FCD-EF11-F77D-A3FA-03915A1E7585}"/>
              </a:ext>
            </a:extLst>
          </p:cNvPr>
          <p:cNvSpPr>
            <a:spLocks noGrp="1"/>
          </p:cNvSpPr>
          <p:nvPr>
            <p:ph type="subTitle" idx="1" hasCustomPrompt="1"/>
          </p:nvPr>
        </p:nvSpPr>
        <p:spPr>
          <a:xfrm>
            <a:off x="297951" y="2466814"/>
            <a:ext cx="4139578" cy="3213144"/>
          </a:xfrm>
          <a:prstGeom prst="rect">
            <a:avLst/>
          </a:prstGeom>
        </p:spPr>
        <p:txBody>
          <a:bodyPr/>
          <a:lstStyle>
            <a:lvl1pPr marL="7521" marR="361381" indent="-189904" algn="l">
              <a:lnSpc>
                <a:spcPct val="100000"/>
              </a:lnSpc>
              <a:spcBef>
                <a:spcPts val="56"/>
              </a:spcBef>
              <a:buNone/>
              <a:defRPr sz="16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1800"/>
              <a:t>Normal text here and here and here and here</a:t>
            </a:r>
            <a:endParaRPr lang="en-GB" sz="2400"/>
          </a:p>
        </p:txBody>
      </p:sp>
      <p:sp>
        <p:nvSpPr>
          <p:cNvPr id="17" name="Text Placeholder 13">
            <a:extLst>
              <a:ext uri="{FF2B5EF4-FFF2-40B4-BE49-F238E27FC236}">
                <a16:creationId xmlns:a16="http://schemas.microsoft.com/office/drawing/2014/main" id="{77ADA2A2-B019-3E85-7EB4-24AC52AC21F0}"/>
              </a:ext>
            </a:extLst>
          </p:cNvPr>
          <p:cNvSpPr>
            <a:spLocks noGrp="1"/>
          </p:cNvSpPr>
          <p:nvPr>
            <p:ph type="body" sz="quarter" idx="16" hasCustomPrompt="1"/>
          </p:nvPr>
        </p:nvSpPr>
        <p:spPr>
          <a:xfrm>
            <a:off x="287792" y="1776016"/>
            <a:ext cx="4139578" cy="690797"/>
          </a:xfrm>
          <a:prstGeom prst="rect">
            <a:avLst/>
          </a:prstGeom>
        </p:spPr>
        <p:txBody>
          <a:bodyPr/>
          <a:lstStyle>
            <a:lvl1pPr>
              <a:defRPr sz="1800" b="0" i="0">
                <a:solidFill>
                  <a:schemeClr val="tx1">
                    <a:lumMod val="65000"/>
                    <a:lumOff val="35000"/>
                  </a:schemeClr>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
        <p:nvSpPr>
          <p:cNvPr id="2" name="Title 1">
            <a:extLst>
              <a:ext uri="{FF2B5EF4-FFF2-40B4-BE49-F238E27FC236}">
                <a16:creationId xmlns:a16="http://schemas.microsoft.com/office/drawing/2014/main" id="{FBCE2CF7-1553-356D-C0BE-FEE5FC33778B}"/>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Tree>
    <p:extLst>
      <p:ext uri="{BB962C8B-B14F-4D97-AF65-F5344CB8AC3E}">
        <p14:creationId xmlns:p14="http://schemas.microsoft.com/office/powerpoint/2010/main" val="2717421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a:xfrm>
            <a:off x="641436" y="1061440"/>
            <a:ext cx="10822684" cy="430887"/>
          </a:xfrm>
          <a:prstGeom prst="rect">
            <a:avLst/>
          </a:prstGeom>
        </p:spPr>
        <p:txBody>
          <a:bodyPr wrap="square">
            <a:spAutoFit/>
          </a:bodyPr>
          <a:lstStyle>
            <a:lvl1pPr algn="ctr">
              <a:defRPr/>
            </a:lvl1pPr>
          </a:lstStyle>
          <a:p>
            <a:r>
              <a:rPr lang="en-US"/>
              <a:t>Click To Edit Custom Slide</a:t>
            </a:r>
            <a:endParaRPr lang="en-GB"/>
          </a:p>
        </p:txBody>
      </p:sp>
      <p:sp>
        <p:nvSpPr>
          <p:cNvPr id="4" name="Subtitle 2">
            <a:extLst>
              <a:ext uri="{FF2B5EF4-FFF2-40B4-BE49-F238E27FC236}">
                <a16:creationId xmlns:a16="http://schemas.microsoft.com/office/drawing/2014/main" id="{BC6647BB-83A6-68CE-A0DA-BA6CBD6AE757}"/>
              </a:ext>
            </a:extLst>
          </p:cNvPr>
          <p:cNvSpPr>
            <a:spLocks noGrp="1"/>
          </p:cNvSpPr>
          <p:nvPr>
            <p:ph type="subTitle" idx="1" hasCustomPrompt="1"/>
          </p:nvPr>
        </p:nvSpPr>
        <p:spPr>
          <a:xfrm>
            <a:off x="641435" y="2112087"/>
            <a:ext cx="10822684" cy="2361671"/>
          </a:xfrm>
          <a:prstGeom prst="rect">
            <a:avLst/>
          </a:prstGeom>
        </p:spPr>
        <p:txBody>
          <a:bodyPr/>
          <a:lstStyle>
            <a:lvl1pPr marL="7521" marR="361381" indent="-189904" algn="ctr">
              <a:lnSpc>
                <a:spcPct val="165300"/>
              </a:lnSpc>
              <a:spcBef>
                <a:spcPts val="56"/>
              </a:spcBef>
              <a:buNone/>
              <a:defRPr sz="2000" b="0" i="0">
                <a:solidFill>
                  <a:schemeClr val="tx1">
                    <a:lumMod val="50000"/>
                    <a:lumOff val="50000"/>
                  </a:schemeClr>
                </a:solidFill>
                <a:latin typeface="Apex New Book" panose="02010600040501010103" pitchFamily="2" charset="77"/>
                <a:ea typeface="Apex New Book" panose="02010600040501010103" pitchFamily="2" charset="77"/>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Lorem ipsum dolor sit </a:t>
            </a:r>
            <a:r>
              <a:rPr lang="en-US" sz="2400" err="1"/>
              <a:t>amet</a:t>
            </a:r>
            <a:r>
              <a:rPr lang="en-US" sz="2400"/>
              <a:t>, </a:t>
            </a:r>
            <a:r>
              <a:rPr lang="en-US" sz="2400" err="1"/>
              <a:t>consectetuer</a:t>
            </a:r>
            <a:r>
              <a:rPr lang="en-US" sz="2400"/>
              <a:t> </a:t>
            </a:r>
            <a:r>
              <a:rPr lang="en-US" sz="2400" err="1"/>
              <a:t>adipiscing</a:t>
            </a:r>
            <a:r>
              <a:rPr lang="en-US" sz="2400"/>
              <a:t> </a:t>
            </a:r>
            <a:r>
              <a:rPr lang="en-US" sz="2400" err="1"/>
              <a:t>elit</a:t>
            </a:r>
            <a:r>
              <a:rPr lang="en-US" sz="2400"/>
              <a:t>, sed diam </a:t>
            </a:r>
            <a:r>
              <a:rPr lang="en-US" sz="2400" err="1"/>
              <a:t>nonummy</a:t>
            </a:r>
            <a:r>
              <a:rPr lang="en-US" sz="2400"/>
              <a:t> </a:t>
            </a:r>
            <a:r>
              <a:rPr lang="en-US" sz="2400" err="1"/>
              <a:t>nibh</a:t>
            </a:r>
            <a:r>
              <a:rPr lang="en-US" sz="2400"/>
              <a:t> </a:t>
            </a:r>
            <a:r>
              <a:rPr lang="en-US" sz="2400" err="1"/>
              <a:t>euismod</a:t>
            </a:r>
            <a:r>
              <a:rPr lang="en-US" sz="2400"/>
              <a:t> </a:t>
            </a:r>
            <a:r>
              <a:rPr lang="en-US" sz="2400" err="1"/>
              <a:t>tincidunt</a:t>
            </a:r>
            <a:r>
              <a:rPr lang="en-US" sz="2400"/>
              <a:t> </a:t>
            </a:r>
            <a:r>
              <a:rPr lang="en-US" sz="2400" err="1"/>
              <a:t>ut</a:t>
            </a:r>
            <a:r>
              <a:rPr lang="en-US" sz="2400"/>
              <a:t> </a:t>
            </a:r>
            <a:r>
              <a:rPr lang="en-US" sz="2400" err="1"/>
              <a:t>laoreet</a:t>
            </a:r>
            <a:r>
              <a:rPr lang="en-US" sz="2400"/>
              <a:t> dolore magna </a:t>
            </a:r>
            <a:r>
              <a:rPr lang="en-US" sz="2400" err="1"/>
              <a:t>aliquam</a:t>
            </a:r>
            <a:r>
              <a:rPr lang="en-US" sz="2400"/>
              <a:t> </a:t>
            </a:r>
            <a:r>
              <a:rPr lang="en-US" sz="2400" err="1"/>
              <a:t>erat</a:t>
            </a:r>
            <a:r>
              <a:rPr lang="en-US" sz="2400"/>
              <a:t> </a:t>
            </a:r>
            <a:r>
              <a:rPr lang="en-US" sz="2400" err="1"/>
              <a:t>volutpat</a:t>
            </a:r>
            <a:r>
              <a:rPr lang="en-US" sz="2400"/>
              <a:t>. Ut </a:t>
            </a:r>
            <a:r>
              <a:rPr lang="en-US" sz="2400" err="1"/>
              <a:t>wisi</a:t>
            </a:r>
            <a:r>
              <a:rPr lang="en-US" sz="2400"/>
              <a:t> </a:t>
            </a:r>
            <a:r>
              <a:rPr lang="en-US" sz="2400" err="1"/>
              <a:t>enim</a:t>
            </a:r>
            <a:r>
              <a:rPr lang="en-US" sz="2400"/>
              <a:t> ad minim </a:t>
            </a:r>
            <a:r>
              <a:rPr lang="en-US" sz="2400" err="1"/>
              <a:t>veniam</a:t>
            </a:r>
            <a:r>
              <a:rPr lang="en-US" sz="2400"/>
              <a:t>, </a:t>
            </a:r>
            <a:r>
              <a:rPr lang="en-US" sz="2400" err="1"/>
              <a:t>quis</a:t>
            </a:r>
            <a:r>
              <a:rPr lang="en-US" sz="2400"/>
              <a:t> </a:t>
            </a:r>
            <a:r>
              <a:rPr lang="en-US" sz="2400" err="1"/>
              <a:t>nostrud</a:t>
            </a:r>
            <a:r>
              <a:rPr lang="en-US" sz="2400"/>
              <a:t> </a:t>
            </a:r>
            <a:r>
              <a:rPr lang="en-US" sz="2400" err="1"/>
              <a:t>exerci</a:t>
            </a:r>
            <a:r>
              <a:rPr lang="en-US" sz="2400"/>
              <a:t> </a:t>
            </a:r>
            <a:r>
              <a:rPr lang="en-US" sz="2400" err="1"/>
              <a:t>tation</a:t>
            </a:r>
            <a:r>
              <a:rPr lang="en-US" sz="2400"/>
              <a:t> </a:t>
            </a:r>
            <a:r>
              <a:rPr lang="en-US" sz="2400" err="1"/>
              <a:t>ullamcorper</a:t>
            </a:r>
            <a:r>
              <a:rPr lang="en-US" sz="2400"/>
              <a:t> </a:t>
            </a:r>
            <a:r>
              <a:rPr lang="en-US" sz="2400" err="1"/>
              <a:t>suscipit</a:t>
            </a:r>
            <a:r>
              <a:rPr lang="en-US" sz="2400"/>
              <a:t> </a:t>
            </a:r>
            <a:r>
              <a:rPr lang="en-US" sz="2400" err="1"/>
              <a:t>lobortis</a:t>
            </a:r>
            <a:r>
              <a:rPr lang="en-US" sz="2400"/>
              <a:t> </a:t>
            </a:r>
            <a:r>
              <a:rPr lang="en-US" sz="2400" err="1"/>
              <a:t>nisl</a:t>
            </a:r>
            <a:r>
              <a:rPr lang="en-US" sz="2400"/>
              <a:t> </a:t>
            </a:r>
            <a:r>
              <a:rPr lang="en-US" sz="2400" err="1"/>
              <a:t>ut</a:t>
            </a:r>
            <a:r>
              <a:rPr lang="en-US" sz="2400"/>
              <a:t> </a:t>
            </a:r>
            <a:r>
              <a:rPr lang="en-US" sz="2400" err="1"/>
              <a:t>aliquip</a:t>
            </a:r>
            <a:r>
              <a:rPr lang="en-US" sz="2400"/>
              <a:t> ex </a:t>
            </a:r>
            <a:r>
              <a:rPr lang="en-US" sz="2400" err="1"/>
              <a:t>ea</a:t>
            </a:r>
            <a:r>
              <a:rPr lang="en-US" sz="2400"/>
              <a:t> </a:t>
            </a:r>
            <a:r>
              <a:rPr lang="en-US" sz="2400" err="1"/>
              <a:t>commodo</a:t>
            </a:r>
            <a:r>
              <a:rPr lang="en-US" sz="2400"/>
              <a:t> </a:t>
            </a:r>
            <a:r>
              <a:rPr lang="en-US" sz="2400" err="1"/>
              <a:t>consequat</a:t>
            </a:r>
            <a:r>
              <a:rPr lang="en-US" sz="2400"/>
              <a:t>.</a:t>
            </a:r>
          </a:p>
        </p:txBody>
      </p:sp>
      <p:sp>
        <p:nvSpPr>
          <p:cNvPr id="5" name="Text Placeholder 7">
            <a:extLst>
              <a:ext uri="{FF2B5EF4-FFF2-40B4-BE49-F238E27FC236}">
                <a16:creationId xmlns:a16="http://schemas.microsoft.com/office/drawing/2014/main" id="{CBA122D4-C660-4B51-E621-0749C8299F41}"/>
              </a:ext>
            </a:extLst>
          </p:cNvPr>
          <p:cNvSpPr>
            <a:spLocks noGrp="1"/>
          </p:cNvSpPr>
          <p:nvPr>
            <p:ph type="body" sz="quarter" idx="11" hasCustomPrompt="1"/>
          </p:nvPr>
        </p:nvSpPr>
        <p:spPr>
          <a:xfrm>
            <a:off x="4996657" y="4689172"/>
            <a:ext cx="1763624" cy="238527"/>
          </a:xfrm>
          <a:prstGeom prst="rect">
            <a:avLst/>
          </a:prstGeom>
          <a:solidFill>
            <a:schemeClr val="bg1"/>
          </a:solidFill>
        </p:spPr>
        <p:txBody>
          <a:bodyPr wrap="none">
            <a:spAutoFit/>
          </a:bodyPr>
          <a:lstStyle>
            <a:lvl1pPr>
              <a:defRPr sz="900" b="0" i="1">
                <a:solidFill>
                  <a:srgbClr val="66594C"/>
                </a:solidFill>
                <a:latin typeface="Apex New Medium Italic" panose="02010600040501010103" pitchFamily="2" charset="77"/>
                <a:ea typeface="Apex New Medium Italic" panose="02010600040501010103" pitchFamily="2" charset="77"/>
              </a:defRPr>
            </a:lvl1pPr>
          </a:lstStyle>
          <a:p>
            <a:pPr lvl="0"/>
            <a:r>
              <a:rPr lang="en-GB"/>
              <a:t>Click to edit master text styles.  </a:t>
            </a:r>
          </a:p>
        </p:txBody>
      </p:sp>
    </p:spTree>
    <p:extLst>
      <p:ext uri="{BB962C8B-B14F-4D97-AF65-F5344CB8AC3E}">
        <p14:creationId xmlns:p14="http://schemas.microsoft.com/office/powerpoint/2010/main" val="13052392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4E62448-174A-A466-FFFC-726AD162454F}"/>
              </a:ext>
            </a:extLst>
          </p:cNvPr>
          <p:cNvSpPr>
            <a:spLocks noGrp="1"/>
          </p:cNvSpPr>
          <p:nvPr>
            <p:ph type="title" hasCustomPrompt="1"/>
          </p:nvPr>
        </p:nvSpPr>
        <p:spPr>
          <a:xfrm>
            <a:off x="283474" y="296088"/>
            <a:ext cx="10079725" cy="369332"/>
          </a:xfrm>
          <a:prstGeom prst="rect">
            <a:avLst/>
          </a:prstGeom>
        </p:spPr>
        <p:txBody>
          <a:bodyPr wrap="square" anchor="ctr" anchorCtr="0">
            <a:spAutoFit/>
          </a:bodyPr>
          <a:lstStyle>
            <a:lvl1pPr>
              <a:defRPr sz="2400"/>
            </a:lvl1pPr>
          </a:lstStyle>
          <a:p>
            <a:r>
              <a:rPr lang="en-US"/>
              <a:t>Click To Edit Custom Slide</a:t>
            </a:r>
            <a:endParaRPr lang="en-GB"/>
          </a:p>
        </p:txBody>
      </p:sp>
      <p:sp>
        <p:nvSpPr>
          <p:cNvPr id="10" name="Text Placeholder 13">
            <a:extLst>
              <a:ext uri="{FF2B5EF4-FFF2-40B4-BE49-F238E27FC236}">
                <a16:creationId xmlns:a16="http://schemas.microsoft.com/office/drawing/2014/main" id="{7820E3CC-DF6C-09AC-D76A-4F15CB3254AD}"/>
              </a:ext>
            </a:extLst>
          </p:cNvPr>
          <p:cNvSpPr>
            <a:spLocks noGrp="1"/>
          </p:cNvSpPr>
          <p:nvPr>
            <p:ph type="body" sz="quarter" idx="16" hasCustomPrompt="1"/>
          </p:nvPr>
        </p:nvSpPr>
        <p:spPr>
          <a:xfrm>
            <a:off x="283475" y="831283"/>
            <a:ext cx="5889053" cy="410136"/>
          </a:xfrm>
          <a:prstGeom prst="rect">
            <a:avLst/>
          </a:prstGeom>
        </p:spPr>
        <p:txBody>
          <a:bodyPr/>
          <a:lstStyle>
            <a:lvl1pPr>
              <a:defRPr sz="1600" b="0" i="0">
                <a:solidFill>
                  <a:schemeClr val="tx2"/>
                </a:solidFill>
                <a:latin typeface="Apex New Medium" panose="02010600040501010103" pitchFamily="2" charset="77"/>
                <a:ea typeface="Apex New Medium" panose="02010600040501010103" pitchFamily="2" charset="77"/>
              </a:defRPr>
            </a:lvl1pPr>
            <a:lvl2pPr>
              <a:defRPr sz="1400"/>
            </a:lvl2pPr>
            <a:lvl3pPr>
              <a:defRPr sz="1200"/>
            </a:lvl3pPr>
            <a:lvl4pPr>
              <a:defRPr sz="1100"/>
            </a:lvl4pPr>
            <a:lvl5pPr>
              <a:defRPr sz="1100"/>
            </a:lvl5pPr>
          </a:lstStyle>
          <a:p>
            <a:pPr algn="l"/>
            <a:r>
              <a:rPr lang="en-GB" sz="1600"/>
              <a:t>Sub-heading text here and here and here and here</a:t>
            </a:r>
            <a:endParaRPr lang="en-GB" sz="2000"/>
          </a:p>
        </p:txBody>
      </p:sp>
    </p:spTree>
    <p:extLst>
      <p:ext uri="{BB962C8B-B14F-4D97-AF65-F5344CB8AC3E}">
        <p14:creationId xmlns:p14="http://schemas.microsoft.com/office/powerpoint/2010/main" val="31971042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3867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1" y="0"/>
            <a:ext cx="1219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2" name="Freeform 1">
            <a:extLst>
              <a:ext uri="{FF2B5EF4-FFF2-40B4-BE49-F238E27FC236}">
                <a16:creationId xmlns:a16="http://schemas.microsoft.com/office/drawing/2014/main" id="{9356F0B1-A2E8-1558-F23B-6FD74C52E4B8}"/>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F1325288-7D19-894A-52D8-9A820BF0B847}"/>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Tree>
    <p:extLst>
      <p:ext uri="{BB962C8B-B14F-4D97-AF65-F5344CB8AC3E}">
        <p14:creationId xmlns:p14="http://schemas.microsoft.com/office/powerpoint/2010/main" val="2958172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5037CE3-375D-2BB2-1C58-73F4A24152BA}"/>
              </a:ext>
            </a:extLst>
          </p:cNvPr>
          <p:cNvSpPr/>
          <p:nvPr userDrawn="1"/>
        </p:nvSpPr>
        <p:spPr>
          <a:xfrm>
            <a:off x="0" y="0"/>
            <a:ext cx="12192000" cy="603754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3398734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4" name="Picture Placeholder 115">
            <a:extLst>
              <a:ext uri="{FF2B5EF4-FFF2-40B4-BE49-F238E27FC236}">
                <a16:creationId xmlns:a16="http://schemas.microsoft.com/office/drawing/2014/main" id="{7B4597E5-7462-D917-B3FC-691CFD46CE3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39079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2" name="Title 1">
            <a:extLst>
              <a:ext uri="{FF2B5EF4-FFF2-40B4-BE49-F238E27FC236}">
                <a16:creationId xmlns:a16="http://schemas.microsoft.com/office/drawing/2014/main" id="{86077D36-9B62-FD3B-4F96-ED9C71D7AA9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80047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847895" y="3429000"/>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
        <p:nvSpPr>
          <p:cNvPr id="3" name="Title 1">
            <a:extLst>
              <a:ext uri="{FF2B5EF4-FFF2-40B4-BE49-F238E27FC236}">
                <a16:creationId xmlns:a16="http://schemas.microsoft.com/office/drawing/2014/main" id="{1323907A-9933-E4B0-2CF7-72CC82888E5C}"/>
              </a:ext>
            </a:extLst>
          </p:cNvPr>
          <p:cNvSpPr>
            <a:spLocks noGrp="1"/>
          </p:cNvSpPr>
          <p:nvPr>
            <p:ph type="title"/>
          </p:nvPr>
        </p:nvSpPr>
        <p:spPr>
          <a:xfrm>
            <a:off x="3916794" y="1293536"/>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1037340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3419BA2B-CD57-53EE-397D-95B77E2910A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pattFill prst="diagBrick">
            <a:fgClr>
              <a:schemeClr val="tx2">
                <a:lumMod val="20000"/>
                <a:lumOff val="80000"/>
              </a:schemeClr>
            </a:fgClr>
            <a:bgClr>
              <a:schemeClr val="bg1"/>
            </a:bgClr>
          </a:pattFill>
        </p:spPr>
      </p:pic>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4558506" y="3308789"/>
            <a:ext cx="5099774" cy="484025"/>
          </a:xfrm>
          <a:prstGeom prst="rect">
            <a:avLst/>
          </a:prstGeom>
        </p:spPr>
        <p:txBody>
          <a:bodyPr wrap="squar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here and here and here</a:t>
            </a:r>
            <a:endParaRPr lang="en-GB" sz="2400"/>
          </a:p>
        </p:txBody>
      </p:sp>
      <p:sp>
        <p:nvSpPr>
          <p:cNvPr id="8" name="Title 1">
            <a:extLst>
              <a:ext uri="{FF2B5EF4-FFF2-40B4-BE49-F238E27FC236}">
                <a16:creationId xmlns:a16="http://schemas.microsoft.com/office/drawing/2014/main" id="{2B194933-7819-E06D-72CA-3D249A06F17A}"/>
              </a:ext>
            </a:extLst>
          </p:cNvPr>
          <p:cNvSpPr>
            <a:spLocks noGrp="1"/>
          </p:cNvSpPr>
          <p:nvPr>
            <p:ph type="title"/>
          </p:nvPr>
        </p:nvSpPr>
        <p:spPr>
          <a:xfrm>
            <a:off x="3916794" y="1207808"/>
            <a:ext cx="5741486" cy="1754326"/>
          </a:xfrm>
          <a:prstGeom prst="rect">
            <a:avLst/>
          </a:prstGeom>
        </p:spPr>
        <p:txBody>
          <a:bodyPr wrap="square" anchor="t">
            <a:spAutoFit/>
          </a:bodyPr>
          <a:lstStyle>
            <a:lvl1pPr algn="r">
              <a:defRPr sz="5400">
                <a:solidFill>
                  <a:schemeClr val="tx1"/>
                </a:solidFill>
              </a:defRPr>
            </a:lvl1pPr>
          </a:lstStyle>
          <a:p>
            <a:r>
              <a:rPr lang="en-GB"/>
              <a:t>Click to edit Master title style</a:t>
            </a:r>
            <a:endParaRPr lang="en-US"/>
          </a:p>
        </p:txBody>
      </p:sp>
    </p:spTree>
    <p:extLst>
      <p:ext uri="{BB962C8B-B14F-4D97-AF65-F5344CB8AC3E}">
        <p14:creationId xmlns:p14="http://schemas.microsoft.com/office/powerpoint/2010/main" val="2900451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Placeholder 115">
            <a:extLst>
              <a:ext uri="{FF2B5EF4-FFF2-40B4-BE49-F238E27FC236}">
                <a16:creationId xmlns:a16="http://schemas.microsoft.com/office/drawing/2014/main" id="{EE5FA182-F7DE-7FF9-AF9F-6B97D1F0618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a:pattFill prst="diagBrick">
            <a:fgClr>
              <a:schemeClr val="tx2">
                <a:lumMod val="20000"/>
                <a:lumOff val="80000"/>
              </a:schemeClr>
            </a:fgClr>
            <a:bgClr>
              <a:schemeClr val="bg1"/>
            </a:bgClr>
          </a:pattFill>
        </p:spPr>
      </p:pic>
      <p:sp>
        <p:nvSpPr>
          <p:cNvPr id="61" name="Title 1">
            <a:extLst>
              <a:ext uri="{FF2B5EF4-FFF2-40B4-BE49-F238E27FC236}">
                <a16:creationId xmlns:a16="http://schemas.microsoft.com/office/drawing/2014/main" id="{CCEC7D17-3DDF-1C86-8BA2-50CC5F3D1786}"/>
              </a:ext>
            </a:extLst>
          </p:cNvPr>
          <p:cNvSpPr>
            <a:spLocks noGrp="1"/>
          </p:cNvSpPr>
          <p:nvPr>
            <p:ph type="title"/>
          </p:nvPr>
        </p:nvSpPr>
        <p:spPr>
          <a:xfrm>
            <a:off x="3916794" y="1559081"/>
            <a:ext cx="5741486" cy="1231106"/>
          </a:xfrm>
          <a:prstGeom prst="rect">
            <a:avLst/>
          </a:prstGeom>
        </p:spPr>
        <p:txBody>
          <a:bodyPr wrap="square" anchor="t">
            <a:spAutoFit/>
          </a:bodyPr>
          <a:lstStyle>
            <a:lvl1pPr algn="r">
              <a:defRPr sz="4000">
                <a:solidFill>
                  <a:schemeClr val="tx1"/>
                </a:solidFill>
              </a:defRPr>
            </a:lvl1pPr>
          </a:lstStyle>
          <a:p>
            <a:r>
              <a:rPr lang="en-GB"/>
              <a:t>Click to edit Master title style</a:t>
            </a:r>
            <a:endParaRPr lang="en-US"/>
          </a:p>
        </p:txBody>
      </p:sp>
      <p:sp>
        <p:nvSpPr>
          <p:cNvPr id="86" name="Text Placeholder 18">
            <a:extLst>
              <a:ext uri="{FF2B5EF4-FFF2-40B4-BE49-F238E27FC236}">
                <a16:creationId xmlns:a16="http://schemas.microsoft.com/office/drawing/2014/main" id="{E26A3B28-9CA4-9BFA-FEE1-E65C5A9124BB}"/>
              </a:ext>
            </a:extLst>
          </p:cNvPr>
          <p:cNvSpPr>
            <a:spLocks noGrp="1"/>
          </p:cNvSpPr>
          <p:nvPr>
            <p:ph type="body" sz="quarter" idx="13" hasCustomPrompt="1"/>
          </p:nvPr>
        </p:nvSpPr>
        <p:spPr>
          <a:xfrm>
            <a:off x="6685543" y="2818321"/>
            <a:ext cx="2810385" cy="788724"/>
          </a:xfrm>
          <a:prstGeom prst="rect">
            <a:avLst/>
          </a:prstGeom>
        </p:spPr>
        <p:txBody>
          <a:bodyPr wrap="none" tIns="144000">
            <a:spAutoFit/>
          </a:bodyPr>
          <a:lstStyle>
            <a:lvl1pPr algn="r">
              <a:defRPr sz="1800" b="0" i="0">
                <a:solidFill>
                  <a:schemeClr val="tx1">
                    <a:lumMod val="50000"/>
                    <a:lumOff val="50000"/>
                  </a:schemeClr>
                </a:solidFill>
                <a:latin typeface="Apex New Medium" panose="02010600040501010103" pitchFamily="2" charset="77"/>
                <a:ea typeface="Apex New Medium" panose="02010600040501010103" pitchFamily="2" charset="77"/>
              </a:defRPr>
            </a:lvl1pPr>
          </a:lstStyle>
          <a:p>
            <a:pPr algn="l"/>
            <a:r>
              <a:rPr lang="en-GB" sz="1800"/>
              <a:t>Sub-heading text here and </a:t>
            </a:r>
            <a:br>
              <a:rPr lang="en-GB" sz="1800"/>
            </a:br>
            <a:r>
              <a:rPr lang="en-GB" sz="1800"/>
              <a:t>here and here and here</a:t>
            </a:r>
            <a:endParaRPr lang="en-GB" sz="2400"/>
          </a:p>
        </p:txBody>
      </p:sp>
    </p:spTree>
    <p:extLst>
      <p:ext uri="{BB962C8B-B14F-4D97-AF65-F5344CB8AC3E}">
        <p14:creationId xmlns:p14="http://schemas.microsoft.com/office/powerpoint/2010/main" val="19349273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ags" Target="../tags/tag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theme" Target="../theme/theme2.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1" imgW="421" imgH="420" progId="TCLayout.ActiveDocument.1">
                  <p:embed/>
                </p:oleObj>
              </mc:Choice>
              <mc:Fallback>
                <p:oleObj name="think-cell Slide" r:id="rId31" imgW="421" imgH="420" progId="TCLayout.ActiveDocument.1">
                  <p:embed/>
                  <p:pic>
                    <p:nvPicPr>
                      <p:cNvPr id="4" name="Object 3" hidden="1"/>
                      <p:cNvPicPr/>
                      <p:nvPr/>
                    </p:nvPicPr>
                    <p:blipFill>
                      <a:blip r:embed="rId32"/>
                      <a:stretch>
                        <a:fillRect/>
                      </a:stretch>
                    </p:blipFill>
                    <p:spPr>
                      <a:xfrm>
                        <a:off x="2119" y="1591"/>
                        <a:ext cx="2116" cy="1587"/>
                      </a:xfrm>
                      <a:prstGeom prst="rect">
                        <a:avLst/>
                      </a:prstGeom>
                    </p:spPr>
                  </p:pic>
                </p:oleObj>
              </mc:Fallback>
            </mc:AlternateContent>
          </a:graphicData>
        </a:graphic>
      </p:graphicFrame>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pic>
        <p:nvPicPr>
          <p:cNvPr id="3" name="Picture 2">
            <a:extLst>
              <a:ext uri="{FF2B5EF4-FFF2-40B4-BE49-F238E27FC236}">
                <a16:creationId xmlns:a16="http://schemas.microsoft.com/office/drawing/2014/main" id="{E5342909-EEA3-22BC-20EC-DD8352F176C2}"/>
              </a:ext>
            </a:extLst>
          </p:cNvPr>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0516798" y="260004"/>
            <a:ext cx="1428987" cy="973735"/>
          </a:xfrm>
          <a:prstGeom prst="rect">
            <a:avLst/>
          </a:prstGeom>
        </p:spPr>
      </p:pic>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30" r:id="rId1"/>
    <p:sldLayoutId id="2147483744" r:id="rId2"/>
    <p:sldLayoutId id="2147483747" r:id="rId3"/>
    <p:sldLayoutId id="2147483753" r:id="rId4"/>
    <p:sldLayoutId id="2147483757" r:id="rId5"/>
    <p:sldLayoutId id="2147483808" r:id="rId6"/>
    <p:sldLayoutId id="2147483806" r:id="rId7"/>
    <p:sldLayoutId id="2147483807" r:id="rId8"/>
    <p:sldLayoutId id="2147483750" r:id="rId9"/>
    <p:sldLayoutId id="2147483756" r:id="rId10"/>
    <p:sldLayoutId id="2147483749" r:id="rId11"/>
    <p:sldLayoutId id="2147483752" r:id="rId12"/>
    <p:sldLayoutId id="2147483779" r:id="rId13"/>
    <p:sldLayoutId id="2147483755" r:id="rId14"/>
    <p:sldLayoutId id="2147483776" r:id="rId15"/>
    <p:sldLayoutId id="2147483778" r:id="rId16"/>
    <p:sldLayoutId id="2147483751" r:id="rId17"/>
    <p:sldLayoutId id="2147483739" r:id="rId18"/>
    <p:sldLayoutId id="2147483734" r:id="rId19"/>
    <p:sldLayoutId id="2147483745" r:id="rId20"/>
    <p:sldLayoutId id="2147483728" r:id="rId21"/>
    <p:sldLayoutId id="2147483746" r:id="rId22"/>
    <p:sldLayoutId id="2147483736" r:id="rId23"/>
    <p:sldLayoutId id="2147483738" r:id="rId24"/>
    <p:sldLayoutId id="2147483740" r:id="rId25"/>
    <p:sldLayoutId id="2147483732" r:id="rId26"/>
    <p:sldLayoutId id="2147483733" r:id="rId27"/>
    <p:sldLayoutId id="2147483743" r:id="rId28"/>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0" imgW="421" imgH="420" progId="TCLayout.ActiveDocument.1">
                  <p:embed/>
                </p:oleObj>
              </mc:Choice>
              <mc:Fallback>
                <p:oleObj name="think-cell Slide" r:id="rId30" imgW="421" imgH="420" progId="TCLayout.ActiveDocument.1">
                  <p:embed/>
                  <p:pic>
                    <p:nvPicPr>
                      <p:cNvPr id="4" name="Object 3" hidden="1"/>
                      <p:cNvPicPr/>
                      <p:nvPr/>
                    </p:nvPicPr>
                    <p:blipFill>
                      <a:blip r:embed="rId31"/>
                      <a:stretch>
                        <a:fillRect/>
                      </a:stretch>
                    </p:blipFill>
                    <p:spPr>
                      <a:xfrm>
                        <a:off x="2119" y="1591"/>
                        <a:ext cx="2116" cy="1587"/>
                      </a:xfrm>
                      <a:prstGeom prst="rect">
                        <a:avLst/>
                      </a:prstGeom>
                    </p:spPr>
                  </p:pic>
                </p:oleObj>
              </mc:Fallback>
            </mc:AlternateContent>
          </a:graphicData>
        </a:graphic>
      </p:graphicFrame>
      <p:grpSp>
        <p:nvGrpSpPr>
          <p:cNvPr id="208" name="Group 207">
            <a:extLst>
              <a:ext uri="{FF2B5EF4-FFF2-40B4-BE49-F238E27FC236}">
                <a16:creationId xmlns:a16="http://schemas.microsoft.com/office/drawing/2014/main" id="{FC8C16CD-EABE-B174-F203-60F2C5DDB2BD}"/>
              </a:ext>
            </a:extLst>
          </p:cNvPr>
          <p:cNvGrpSpPr/>
          <p:nvPr userDrawn="1"/>
        </p:nvGrpSpPr>
        <p:grpSpPr>
          <a:xfrm>
            <a:off x="10522168" y="260005"/>
            <a:ext cx="1431967" cy="973734"/>
            <a:chOff x="10366157" y="302263"/>
            <a:chExt cx="1394705" cy="948396"/>
          </a:xfrm>
        </p:grpSpPr>
        <p:sp>
          <p:nvSpPr>
            <p:cNvPr id="209" name="object 28">
              <a:extLst>
                <a:ext uri="{FF2B5EF4-FFF2-40B4-BE49-F238E27FC236}">
                  <a16:creationId xmlns:a16="http://schemas.microsoft.com/office/drawing/2014/main" id="{6E773E17-8EE7-2EBB-C07D-470AB8BA4F8C}"/>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0" name="object 29">
              <a:extLst>
                <a:ext uri="{FF2B5EF4-FFF2-40B4-BE49-F238E27FC236}">
                  <a16:creationId xmlns:a16="http://schemas.microsoft.com/office/drawing/2014/main" id="{A9BBCCA1-D2C9-0073-8150-EF7EC50A2649}"/>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211" name="object 30">
              <a:extLst>
                <a:ext uri="{FF2B5EF4-FFF2-40B4-BE49-F238E27FC236}">
                  <a16:creationId xmlns:a16="http://schemas.microsoft.com/office/drawing/2014/main" id="{C63CE11A-7B41-ADC7-F175-47E897852661}"/>
                </a:ext>
              </a:extLst>
            </p:cNvPr>
            <p:cNvGrpSpPr/>
            <p:nvPr/>
          </p:nvGrpSpPr>
          <p:grpSpPr>
            <a:xfrm>
              <a:off x="10674915" y="302263"/>
              <a:ext cx="1085947" cy="122368"/>
              <a:chOff x="-1" y="-1"/>
              <a:chExt cx="1085945" cy="122366"/>
            </a:xfrm>
          </p:grpSpPr>
          <p:sp>
            <p:nvSpPr>
              <p:cNvPr id="212" name="Shape">
                <a:extLst>
                  <a:ext uri="{FF2B5EF4-FFF2-40B4-BE49-F238E27FC236}">
                    <a16:creationId xmlns:a16="http://schemas.microsoft.com/office/drawing/2014/main" id="{F612E393-F414-DC88-2045-14DA35B327CA}"/>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3" name="Shape">
                <a:extLst>
                  <a:ext uri="{FF2B5EF4-FFF2-40B4-BE49-F238E27FC236}">
                    <a16:creationId xmlns:a16="http://schemas.microsoft.com/office/drawing/2014/main" id="{33452A30-51AA-04F4-E737-CBFE876C36F5}"/>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4" name="Shape">
                <a:extLst>
                  <a:ext uri="{FF2B5EF4-FFF2-40B4-BE49-F238E27FC236}">
                    <a16:creationId xmlns:a16="http://schemas.microsoft.com/office/drawing/2014/main" id="{1903EED1-483F-48A2-F8AC-55205B55EA5B}"/>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5" name="Shape">
                <a:extLst>
                  <a:ext uri="{FF2B5EF4-FFF2-40B4-BE49-F238E27FC236}">
                    <a16:creationId xmlns:a16="http://schemas.microsoft.com/office/drawing/2014/main" id="{084D58E9-ED01-715E-498F-CDCF8F0D5A8F}"/>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6" name="Shape">
                <a:extLst>
                  <a:ext uri="{FF2B5EF4-FFF2-40B4-BE49-F238E27FC236}">
                    <a16:creationId xmlns:a16="http://schemas.microsoft.com/office/drawing/2014/main" id="{09378A92-2FFF-09CE-49F7-A623DAF4FDE1}"/>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7" name="Shape">
                <a:extLst>
                  <a:ext uri="{FF2B5EF4-FFF2-40B4-BE49-F238E27FC236}">
                    <a16:creationId xmlns:a16="http://schemas.microsoft.com/office/drawing/2014/main" id="{BAA34797-BD1C-C171-ADCA-381BF5A29547}"/>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8" name="Shape">
                <a:extLst>
                  <a:ext uri="{FF2B5EF4-FFF2-40B4-BE49-F238E27FC236}">
                    <a16:creationId xmlns:a16="http://schemas.microsoft.com/office/drawing/2014/main" id="{9E174C78-C63D-3316-D131-0DDB182589E4}"/>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19" name="Shape">
                <a:extLst>
                  <a:ext uri="{FF2B5EF4-FFF2-40B4-BE49-F238E27FC236}">
                    <a16:creationId xmlns:a16="http://schemas.microsoft.com/office/drawing/2014/main" id="{B3D6561B-58C0-B00B-9114-57EBC4F1BE75}"/>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0" name="Shape">
                <a:extLst>
                  <a:ext uri="{FF2B5EF4-FFF2-40B4-BE49-F238E27FC236}">
                    <a16:creationId xmlns:a16="http://schemas.microsoft.com/office/drawing/2014/main" id="{C91EBE74-344D-8CE0-517C-416261A7E4BB}"/>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1" name="Shape">
                <a:extLst>
                  <a:ext uri="{FF2B5EF4-FFF2-40B4-BE49-F238E27FC236}">
                    <a16:creationId xmlns:a16="http://schemas.microsoft.com/office/drawing/2014/main" id="{3CF5A47B-B13B-2A01-E655-77C052F5ED5B}"/>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2" name="Shape">
                <a:extLst>
                  <a:ext uri="{FF2B5EF4-FFF2-40B4-BE49-F238E27FC236}">
                    <a16:creationId xmlns:a16="http://schemas.microsoft.com/office/drawing/2014/main" id="{CCD62E07-89B6-8D14-845F-6FAE05758330}"/>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3" name="Rectangle">
                <a:extLst>
                  <a:ext uri="{FF2B5EF4-FFF2-40B4-BE49-F238E27FC236}">
                    <a16:creationId xmlns:a16="http://schemas.microsoft.com/office/drawing/2014/main" id="{7D8D2A43-5404-B777-2E6D-EE66FC00E4A3}"/>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4" name="Rectangle">
                <a:extLst>
                  <a:ext uri="{FF2B5EF4-FFF2-40B4-BE49-F238E27FC236}">
                    <a16:creationId xmlns:a16="http://schemas.microsoft.com/office/drawing/2014/main" id="{1E236254-F0B3-D421-6557-050DC6D8C8C4}"/>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5" name="Shape">
                <a:extLst>
                  <a:ext uri="{FF2B5EF4-FFF2-40B4-BE49-F238E27FC236}">
                    <a16:creationId xmlns:a16="http://schemas.microsoft.com/office/drawing/2014/main" id="{2A7C2351-8844-3A3A-B755-905CDFF2264B}"/>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6" name="Shape">
                <a:extLst>
                  <a:ext uri="{FF2B5EF4-FFF2-40B4-BE49-F238E27FC236}">
                    <a16:creationId xmlns:a16="http://schemas.microsoft.com/office/drawing/2014/main" id="{BAB90295-C7AF-C9FB-D56A-059CDDB4832E}"/>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7" name="Shape">
                <a:extLst>
                  <a:ext uri="{FF2B5EF4-FFF2-40B4-BE49-F238E27FC236}">
                    <a16:creationId xmlns:a16="http://schemas.microsoft.com/office/drawing/2014/main" id="{103EF502-B5E0-E8B0-A065-87DA09C585B4}"/>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228" name="Rectangle">
                <a:extLst>
                  <a:ext uri="{FF2B5EF4-FFF2-40B4-BE49-F238E27FC236}">
                    <a16:creationId xmlns:a16="http://schemas.microsoft.com/office/drawing/2014/main" id="{65BFCBCD-8725-AE81-A662-BB13870064AD}"/>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grpSp>
      <p:sp>
        <p:nvSpPr>
          <p:cNvPr id="5" name="Freeform 4">
            <a:extLst>
              <a:ext uri="{FF2B5EF4-FFF2-40B4-BE49-F238E27FC236}">
                <a16:creationId xmlns:a16="http://schemas.microsoft.com/office/drawing/2014/main" id="{A3145E3B-53D8-24D2-49B8-FC9BEF07CE71}"/>
              </a:ext>
            </a:extLst>
          </p:cNvPr>
          <p:cNvSpPr/>
          <p:nvPr userDrawn="1"/>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6" name="Rectangle 5">
            <a:extLst>
              <a:ext uri="{FF2B5EF4-FFF2-40B4-BE49-F238E27FC236}">
                <a16:creationId xmlns:a16="http://schemas.microsoft.com/office/drawing/2014/main" id="{D5E2766E-0E28-428C-7713-F6A0FCA419FF}"/>
              </a:ext>
            </a:extLst>
          </p:cNvPr>
          <p:cNvSpPr/>
          <p:nvPr userDrawn="1"/>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a:t>
            </a:fld>
            <a:endParaRPr lang="en-ZA" sz="767" b="1">
              <a:solidFill>
                <a:schemeClr val="bg1"/>
              </a:solidFill>
              <a:latin typeface="Tahoma"/>
            </a:endParaRPr>
          </a:p>
        </p:txBody>
      </p:sp>
      <p:sp>
        <p:nvSpPr>
          <p:cNvPr id="7" name="Graphic 64">
            <a:extLst>
              <a:ext uri="{FF2B5EF4-FFF2-40B4-BE49-F238E27FC236}">
                <a16:creationId xmlns:a16="http://schemas.microsoft.com/office/drawing/2014/main" id="{238245C2-535F-687F-738F-83FEEB859035}"/>
              </a:ext>
            </a:extLst>
          </p:cNvPr>
          <p:cNvSpPr/>
          <p:nvPr userDrawn="1"/>
        </p:nvSpPr>
        <p:spPr>
          <a:xfrm>
            <a:off x="209511" y="825398"/>
            <a:ext cx="10134961" cy="647434"/>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 name="connsiteX0" fmla="*/ 14996512 w 14996512"/>
              <a:gd name="connsiteY0" fmla="*/ 19893 h 963549"/>
              <a:gd name="connsiteX1" fmla="*/ 439579 w 14996512"/>
              <a:gd name="connsiteY1" fmla="*/ 0 h 963549"/>
              <a:gd name="connsiteX2" fmla="*/ 399955 w 14996512"/>
              <a:gd name="connsiteY2" fmla="*/ 72009 h 963549"/>
              <a:gd name="connsiteX3" fmla="*/ 351377 w 14996512"/>
              <a:gd name="connsiteY3" fmla="*/ 72390 h 963549"/>
              <a:gd name="connsiteX4" fmla="*/ 307467 w 14996512"/>
              <a:gd name="connsiteY4" fmla="*/ 0 h 963549"/>
              <a:gd name="connsiteX5" fmla="*/ 118967 w 14996512"/>
              <a:gd name="connsiteY5" fmla="*/ 0 h 963549"/>
              <a:gd name="connsiteX6" fmla="*/ 0 w 14996512"/>
              <a:gd name="connsiteY6" fmla="*/ 199739 h 963549"/>
              <a:gd name="connsiteX7" fmla="*/ 0 w 14996512"/>
              <a:gd name="connsiteY7" fmla="*/ 342138 h 963549"/>
              <a:gd name="connsiteX8" fmla="*/ 78296 w 14996512"/>
              <a:gd name="connsiteY8" fmla="*/ 463772 h 963549"/>
              <a:gd name="connsiteX9" fmla="*/ 204216 w 14996512"/>
              <a:gd name="connsiteY9" fmla="*/ 463772 h 963549"/>
              <a:gd name="connsiteX10" fmla="*/ 219647 w 14996512"/>
              <a:gd name="connsiteY10" fmla="*/ 437007 h 963549"/>
              <a:gd name="connsiteX11" fmla="*/ 381000 w 14996512"/>
              <a:gd name="connsiteY11" fmla="*/ 437007 h 963549"/>
              <a:gd name="connsiteX12" fmla="*/ 399288 w 14996512"/>
              <a:gd name="connsiteY12" fmla="*/ 469773 h 963549"/>
              <a:gd name="connsiteX13" fmla="*/ 399288 w 14996512"/>
              <a:gd name="connsiteY13" fmla="*/ 568071 h 963549"/>
              <a:gd name="connsiteX14" fmla="*/ 434245 w 14996512"/>
              <a:gd name="connsiteY14" fmla="*/ 628841 h 963549"/>
              <a:gd name="connsiteX15" fmla="*/ 434054 w 14996512"/>
              <a:gd name="connsiteY15" fmla="*/ 693325 h 963549"/>
              <a:gd name="connsiteX16" fmla="*/ 492728 w 14996512"/>
              <a:gd name="connsiteY16" fmla="*/ 800005 h 963549"/>
              <a:gd name="connsiteX17" fmla="*/ 492728 w 14996512"/>
              <a:gd name="connsiteY17" fmla="*/ 884873 h 963549"/>
              <a:gd name="connsiteX18" fmla="*/ 559118 w 14996512"/>
              <a:gd name="connsiteY18" fmla="*/ 962978 h 963549"/>
              <a:gd name="connsiteX19" fmla="*/ 645414 w 14996512"/>
              <a:gd name="connsiteY19" fmla="*/ 963549 h 963549"/>
              <a:gd name="connsiteX20" fmla="*/ 688372 w 14996512"/>
              <a:gd name="connsiteY20" fmla="*/ 892112 h 963549"/>
              <a:gd name="connsiteX21" fmla="*/ 688372 w 14996512"/>
              <a:gd name="connsiteY21" fmla="*/ 837914 h 963549"/>
              <a:gd name="connsiteX22" fmla="*/ 784479 w 14996512"/>
              <a:gd name="connsiteY22" fmla="*/ 687229 h 963549"/>
              <a:gd name="connsiteX23" fmla="*/ 784479 w 14996512"/>
              <a:gd name="connsiteY23" fmla="*/ 586169 h 963549"/>
              <a:gd name="connsiteX24" fmla="*/ 831152 w 14996512"/>
              <a:gd name="connsiteY24" fmla="*/ 512636 h 963549"/>
              <a:gd name="connsiteX25" fmla="*/ 886968 w 14996512"/>
              <a:gd name="connsiteY25" fmla="*/ 513207 h 963549"/>
              <a:gd name="connsiteX26" fmla="*/ 979075 w 14996512"/>
              <a:gd name="connsiteY26" fmla="*/ 352139 h 963549"/>
              <a:gd name="connsiteX27" fmla="*/ 809530 w 14996512"/>
              <a:gd name="connsiteY27" fmla="*/ 352139 h 963549"/>
              <a:gd name="connsiteX28" fmla="*/ 761333 w 14996512"/>
              <a:gd name="connsiteY28" fmla="*/ 269367 h 963549"/>
              <a:gd name="connsiteX29" fmla="*/ 761429 w 14996512"/>
              <a:gd name="connsiteY29" fmla="*/ 189357 h 963549"/>
              <a:gd name="connsiteX30" fmla="*/ 681419 w 14996512"/>
              <a:gd name="connsiteY30" fmla="*/ 77438 h 963549"/>
              <a:gd name="connsiteX31" fmla="*/ 655511 w 14996512"/>
              <a:gd name="connsiteY31" fmla="*/ 77438 h 963549"/>
              <a:gd name="connsiteX32" fmla="*/ 487299 w 14996512"/>
              <a:gd name="connsiteY32" fmla="*/ 77438 h 963549"/>
              <a:gd name="connsiteX33" fmla="*/ 443293 w 14996512"/>
              <a:gd name="connsiteY33" fmla="*/ 153448 h 963549"/>
              <a:gd name="connsiteX34" fmla="*/ 316421 w 14996512"/>
              <a:gd name="connsiteY34" fmla="*/ 153448 h 963549"/>
              <a:gd name="connsiteX35" fmla="*/ 265843 w 14996512"/>
              <a:gd name="connsiteY35" fmla="*/ 67056 h 963549"/>
              <a:gd name="connsiteX36" fmla="*/ 159639 w 14996512"/>
              <a:gd name="connsiteY36" fmla="*/ 67056 h 963549"/>
              <a:gd name="connsiteX37" fmla="*/ 71914 w 14996512"/>
              <a:gd name="connsiteY37" fmla="*/ 225457 h 963549"/>
              <a:gd name="connsiteX38" fmla="*/ 71914 w 14996512"/>
              <a:gd name="connsiteY38" fmla="*/ 311753 h 963549"/>
              <a:gd name="connsiteX39" fmla="*/ 121825 w 14996512"/>
              <a:gd name="connsiteY39" fmla="*/ 393192 h 963549"/>
              <a:gd name="connsiteX40" fmla="*/ 160687 w 14996512"/>
              <a:gd name="connsiteY40" fmla="*/ 393192 h 963549"/>
              <a:gd name="connsiteX41" fmla="*/ 173260 w 14996512"/>
              <a:gd name="connsiteY41" fmla="*/ 370332 h 963549"/>
              <a:gd name="connsiteX42" fmla="*/ 416433 w 14996512"/>
              <a:gd name="connsiteY42" fmla="*/ 370332 h 963549"/>
              <a:gd name="connsiteX43" fmla="*/ 465392 w 14996512"/>
              <a:gd name="connsiteY43" fmla="*/ 455676 h 963549"/>
              <a:gd name="connsiteX44" fmla="*/ 465392 w 14996512"/>
              <a:gd name="connsiteY44" fmla="*/ 556736 h 963549"/>
              <a:gd name="connsiteX45" fmla="*/ 500443 w 14996512"/>
              <a:gd name="connsiteY45" fmla="*/ 616839 h 963549"/>
              <a:gd name="connsiteX46" fmla="*/ 500443 w 14996512"/>
              <a:gd name="connsiteY46" fmla="*/ 678275 h 963549"/>
              <a:gd name="connsiteX47" fmla="*/ 563309 w 14996512"/>
              <a:gd name="connsiteY47" fmla="*/ 783527 h 963549"/>
              <a:gd name="connsiteX48" fmla="*/ 563309 w 14996512"/>
              <a:gd name="connsiteY48" fmla="*/ 847344 h 963549"/>
              <a:gd name="connsiteX49" fmla="*/ 594932 w 14996512"/>
              <a:gd name="connsiteY49" fmla="*/ 888492 h 963549"/>
              <a:gd name="connsiteX50" fmla="*/ 609124 w 14996512"/>
              <a:gd name="connsiteY50" fmla="*/ 888492 h 963549"/>
              <a:gd name="connsiteX51" fmla="*/ 628460 w 14996512"/>
              <a:gd name="connsiteY51" fmla="*/ 856488 h 963549"/>
              <a:gd name="connsiteX52" fmla="*/ 628460 w 14996512"/>
              <a:gd name="connsiteY52" fmla="*/ 810292 h 963549"/>
              <a:gd name="connsiteX53" fmla="*/ 717899 w 14996512"/>
              <a:gd name="connsiteY53" fmla="*/ 667226 h 963549"/>
              <a:gd name="connsiteX54" fmla="*/ 718566 w 14996512"/>
              <a:gd name="connsiteY54" fmla="*/ 556165 h 963549"/>
              <a:gd name="connsiteX55" fmla="*/ 790956 w 14996512"/>
              <a:gd name="connsiteY55" fmla="*/ 448056 h 963549"/>
              <a:gd name="connsiteX56" fmla="*/ 843725 w 14996512"/>
              <a:gd name="connsiteY56" fmla="*/ 447770 h 963549"/>
              <a:gd name="connsiteX57" fmla="*/ 861060 w 14996512"/>
              <a:gd name="connsiteY57" fmla="*/ 419957 h 963549"/>
              <a:gd name="connsiteX58" fmla="*/ 767239 w 14996512"/>
              <a:gd name="connsiteY58" fmla="*/ 419957 h 963549"/>
              <a:gd name="connsiteX59" fmla="*/ 691229 w 14996512"/>
              <a:gd name="connsiteY59" fmla="*/ 291370 h 963549"/>
              <a:gd name="connsiteX60" fmla="*/ 689229 w 14996512"/>
              <a:gd name="connsiteY60" fmla="*/ 210407 h 963549"/>
              <a:gd name="connsiteX61" fmla="*/ 640271 w 14996512"/>
              <a:gd name="connsiteY61" fmla="*/ 144399 h 963549"/>
              <a:gd name="connsiteX62" fmla="*/ 532352 w 14996512"/>
              <a:gd name="connsiteY62" fmla="*/ 143447 h 963549"/>
              <a:gd name="connsiteX63" fmla="*/ 483108 w 14996512"/>
              <a:gd name="connsiteY63" fmla="*/ 228410 h 963549"/>
              <a:gd name="connsiteX64" fmla="*/ 271082 w 14996512"/>
              <a:gd name="connsiteY64" fmla="*/ 228410 h 963549"/>
              <a:gd name="connsiteX65" fmla="*/ 227743 w 14996512"/>
              <a:gd name="connsiteY65" fmla="*/ 156782 h 963549"/>
              <a:gd name="connsiteX66" fmla="*/ 200216 w 14996512"/>
              <a:gd name="connsiteY66" fmla="*/ 156782 h 963549"/>
              <a:gd name="connsiteX67" fmla="*/ 152019 w 14996512"/>
              <a:gd name="connsiteY67" fmla="*/ 248126 h 963549"/>
              <a:gd name="connsiteX68" fmla="*/ 150781 w 14996512"/>
              <a:gd name="connsiteY68" fmla="*/ 298990 h 963549"/>
              <a:gd name="connsiteX69" fmla="*/ 153638 w 14996512"/>
              <a:gd name="connsiteY69" fmla="*/ 303562 h 963549"/>
              <a:gd name="connsiteX70" fmla="*/ 157353 w 14996512"/>
              <a:gd name="connsiteY70" fmla="*/ 303467 h 963549"/>
              <a:gd name="connsiteX71" fmla="*/ 161068 w 14996512"/>
              <a:gd name="connsiteY71" fmla="*/ 298990 h 963549"/>
              <a:gd name="connsiteX72" fmla="*/ 525304 w 14996512"/>
              <a:gd name="connsiteY72" fmla="*/ 299180 h 963549"/>
              <a:gd name="connsiteX73" fmla="*/ 578739 w 14996512"/>
              <a:gd name="connsiteY73" fmla="*/ 213741 h 963549"/>
              <a:gd name="connsiteX74" fmla="*/ 607314 w 14996512"/>
              <a:gd name="connsiteY74" fmla="*/ 213741 h 963549"/>
              <a:gd name="connsiteX75" fmla="*/ 629317 w 14996512"/>
              <a:gd name="connsiteY75" fmla="*/ 242697 h 963549"/>
              <a:gd name="connsiteX76" fmla="*/ 629317 w 14996512"/>
              <a:gd name="connsiteY76" fmla="*/ 322326 h 963549"/>
              <a:gd name="connsiteX77" fmla="*/ 704945 w 14996512"/>
              <a:gd name="connsiteY77" fmla="*/ 449294 h 963549"/>
              <a:gd name="connsiteX78" fmla="*/ 648938 w 14996512"/>
              <a:gd name="connsiteY78" fmla="*/ 533400 h 963549"/>
              <a:gd name="connsiteX79" fmla="*/ 647510 w 14996512"/>
              <a:gd name="connsiteY79" fmla="*/ 650558 h 963549"/>
              <a:gd name="connsiteX80" fmla="*/ 603409 w 14996512"/>
              <a:gd name="connsiteY80" fmla="*/ 716852 h 963549"/>
              <a:gd name="connsiteX81" fmla="*/ 563404 w 14996512"/>
              <a:gd name="connsiteY81" fmla="*/ 649700 h 963549"/>
              <a:gd name="connsiteX82" fmla="*/ 563404 w 14996512"/>
              <a:gd name="connsiteY82" fmla="*/ 578644 h 963549"/>
              <a:gd name="connsiteX83" fmla="*/ 537496 w 14996512"/>
              <a:gd name="connsiteY83" fmla="*/ 536258 h 963549"/>
              <a:gd name="connsiteX84" fmla="*/ 537496 w 14996512"/>
              <a:gd name="connsiteY84" fmla="*/ 436721 h 963549"/>
              <a:gd name="connsiteX85" fmla="*/ 498824 w 14996512"/>
              <a:gd name="connsiteY85" fmla="*/ 368999 h 963549"/>
              <a:gd name="connsiteX86" fmla="*/ 581120 w 14996512"/>
              <a:gd name="connsiteY86" fmla="*/ 368999 h 963549"/>
              <a:gd name="connsiteX87" fmla="*/ 627698 w 14996512"/>
              <a:gd name="connsiteY87" fmla="*/ 443579 h 963549"/>
              <a:gd name="connsiteX88" fmla="*/ 592550 w 14996512"/>
              <a:gd name="connsiteY88" fmla="*/ 496729 h 963549"/>
              <a:gd name="connsiteX0" fmla="*/ 15115867 w 15115867"/>
              <a:gd name="connsiteY0" fmla="*/ 0 h 1023226"/>
              <a:gd name="connsiteX1" fmla="*/ 439579 w 15115867"/>
              <a:gd name="connsiteY1" fmla="*/ 59677 h 1023226"/>
              <a:gd name="connsiteX2" fmla="*/ 399955 w 15115867"/>
              <a:gd name="connsiteY2" fmla="*/ 131686 h 1023226"/>
              <a:gd name="connsiteX3" fmla="*/ 351377 w 15115867"/>
              <a:gd name="connsiteY3" fmla="*/ 132067 h 1023226"/>
              <a:gd name="connsiteX4" fmla="*/ 307467 w 15115867"/>
              <a:gd name="connsiteY4" fmla="*/ 59677 h 1023226"/>
              <a:gd name="connsiteX5" fmla="*/ 118967 w 15115867"/>
              <a:gd name="connsiteY5" fmla="*/ 59677 h 1023226"/>
              <a:gd name="connsiteX6" fmla="*/ 0 w 15115867"/>
              <a:gd name="connsiteY6" fmla="*/ 259416 h 1023226"/>
              <a:gd name="connsiteX7" fmla="*/ 0 w 15115867"/>
              <a:gd name="connsiteY7" fmla="*/ 401815 h 1023226"/>
              <a:gd name="connsiteX8" fmla="*/ 78296 w 15115867"/>
              <a:gd name="connsiteY8" fmla="*/ 523449 h 1023226"/>
              <a:gd name="connsiteX9" fmla="*/ 204216 w 15115867"/>
              <a:gd name="connsiteY9" fmla="*/ 523449 h 1023226"/>
              <a:gd name="connsiteX10" fmla="*/ 219647 w 15115867"/>
              <a:gd name="connsiteY10" fmla="*/ 496684 h 1023226"/>
              <a:gd name="connsiteX11" fmla="*/ 381000 w 15115867"/>
              <a:gd name="connsiteY11" fmla="*/ 496684 h 1023226"/>
              <a:gd name="connsiteX12" fmla="*/ 399288 w 15115867"/>
              <a:gd name="connsiteY12" fmla="*/ 529450 h 1023226"/>
              <a:gd name="connsiteX13" fmla="*/ 399288 w 15115867"/>
              <a:gd name="connsiteY13" fmla="*/ 627748 h 1023226"/>
              <a:gd name="connsiteX14" fmla="*/ 434245 w 15115867"/>
              <a:gd name="connsiteY14" fmla="*/ 688518 h 1023226"/>
              <a:gd name="connsiteX15" fmla="*/ 434054 w 15115867"/>
              <a:gd name="connsiteY15" fmla="*/ 753002 h 1023226"/>
              <a:gd name="connsiteX16" fmla="*/ 492728 w 15115867"/>
              <a:gd name="connsiteY16" fmla="*/ 859682 h 1023226"/>
              <a:gd name="connsiteX17" fmla="*/ 492728 w 15115867"/>
              <a:gd name="connsiteY17" fmla="*/ 944550 h 1023226"/>
              <a:gd name="connsiteX18" fmla="*/ 559118 w 15115867"/>
              <a:gd name="connsiteY18" fmla="*/ 1022655 h 1023226"/>
              <a:gd name="connsiteX19" fmla="*/ 645414 w 15115867"/>
              <a:gd name="connsiteY19" fmla="*/ 1023226 h 1023226"/>
              <a:gd name="connsiteX20" fmla="*/ 688372 w 15115867"/>
              <a:gd name="connsiteY20" fmla="*/ 951789 h 1023226"/>
              <a:gd name="connsiteX21" fmla="*/ 688372 w 15115867"/>
              <a:gd name="connsiteY21" fmla="*/ 897591 h 1023226"/>
              <a:gd name="connsiteX22" fmla="*/ 784479 w 15115867"/>
              <a:gd name="connsiteY22" fmla="*/ 746906 h 1023226"/>
              <a:gd name="connsiteX23" fmla="*/ 784479 w 15115867"/>
              <a:gd name="connsiteY23" fmla="*/ 645846 h 1023226"/>
              <a:gd name="connsiteX24" fmla="*/ 831152 w 15115867"/>
              <a:gd name="connsiteY24" fmla="*/ 572313 h 1023226"/>
              <a:gd name="connsiteX25" fmla="*/ 886968 w 15115867"/>
              <a:gd name="connsiteY25" fmla="*/ 572884 h 1023226"/>
              <a:gd name="connsiteX26" fmla="*/ 979075 w 15115867"/>
              <a:gd name="connsiteY26" fmla="*/ 411816 h 1023226"/>
              <a:gd name="connsiteX27" fmla="*/ 809530 w 15115867"/>
              <a:gd name="connsiteY27" fmla="*/ 411816 h 1023226"/>
              <a:gd name="connsiteX28" fmla="*/ 761333 w 15115867"/>
              <a:gd name="connsiteY28" fmla="*/ 329044 h 1023226"/>
              <a:gd name="connsiteX29" fmla="*/ 761429 w 15115867"/>
              <a:gd name="connsiteY29" fmla="*/ 249034 h 1023226"/>
              <a:gd name="connsiteX30" fmla="*/ 681419 w 15115867"/>
              <a:gd name="connsiteY30" fmla="*/ 137115 h 1023226"/>
              <a:gd name="connsiteX31" fmla="*/ 655511 w 15115867"/>
              <a:gd name="connsiteY31" fmla="*/ 137115 h 1023226"/>
              <a:gd name="connsiteX32" fmla="*/ 487299 w 15115867"/>
              <a:gd name="connsiteY32" fmla="*/ 137115 h 1023226"/>
              <a:gd name="connsiteX33" fmla="*/ 443293 w 15115867"/>
              <a:gd name="connsiteY33" fmla="*/ 213125 h 1023226"/>
              <a:gd name="connsiteX34" fmla="*/ 316421 w 15115867"/>
              <a:gd name="connsiteY34" fmla="*/ 213125 h 1023226"/>
              <a:gd name="connsiteX35" fmla="*/ 265843 w 15115867"/>
              <a:gd name="connsiteY35" fmla="*/ 126733 h 1023226"/>
              <a:gd name="connsiteX36" fmla="*/ 159639 w 15115867"/>
              <a:gd name="connsiteY36" fmla="*/ 126733 h 1023226"/>
              <a:gd name="connsiteX37" fmla="*/ 71914 w 15115867"/>
              <a:gd name="connsiteY37" fmla="*/ 285134 h 1023226"/>
              <a:gd name="connsiteX38" fmla="*/ 71914 w 15115867"/>
              <a:gd name="connsiteY38" fmla="*/ 371430 h 1023226"/>
              <a:gd name="connsiteX39" fmla="*/ 121825 w 15115867"/>
              <a:gd name="connsiteY39" fmla="*/ 452869 h 1023226"/>
              <a:gd name="connsiteX40" fmla="*/ 160687 w 15115867"/>
              <a:gd name="connsiteY40" fmla="*/ 452869 h 1023226"/>
              <a:gd name="connsiteX41" fmla="*/ 173260 w 15115867"/>
              <a:gd name="connsiteY41" fmla="*/ 430009 h 1023226"/>
              <a:gd name="connsiteX42" fmla="*/ 416433 w 15115867"/>
              <a:gd name="connsiteY42" fmla="*/ 430009 h 1023226"/>
              <a:gd name="connsiteX43" fmla="*/ 465392 w 15115867"/>
              <a:gd name="connsiteY43" fmla="*/ 515353 h 1023226"/>
              <a:gd name="connsiteX44" fmla="*/ 465392 w 15115867"/>
              <a:gd name="connsiteY44" fmla="*/ 616413 h 1023226"/>
              <a:gd name="connsiteX45" fmla="*/ 500443 w 15115867"/>
              <a:gd name="connsiteY45" fmla="*/ 676516 h 1023226"/>
              <a:gd name="connsiteX46" fmla="*/ 500443 w 15115867"/>
              <a:gd name="connsiteY46" fmla="*/ 737952 h 1023226"/>
              <a:gd name="connsiteX47" fmla="*/ 563309 w 15115867"/>
              <a:gd name="connsiteY47" fmla="*/ 843204 h 1023226"/>
              <a:gd name="connsiteX48" fmla="*/ 563309 w 15115867"/>
              <a:gd name="connsiteY48" fmla="*/ 907021 h 1023226"/>
              <a:gd name="connsiteX49" fmla="*/ 594932 w 15115867"/>
              <a:gd name="connsiteY49" fmla="*/ 948169 h 1023226"/>
              <a:gd name="connsiteX50" fmla="*/ 609124 w 15115867"/>
              <a:gd name="connsiteY50" fmla="*/ 948169 h 1023226"/>
              <a:gd name="connsiteX51" fmla="*/ 628460 w 15115867"/>
              <a:gd name="connsiteY51" fmla="*/ 916165 h 1023226"/>
              <a:gd name="connsiteX52" fmla="*/ 628460 w 15115867"/>
              <a:gd name="connsiteY52" fmla="*/ 869969 h 1023226"/>
              <a:gd name="connsiteX53" fmla="*/ 717899 w 15115867"/>
              <a:gd name="connsiteY53" fmla="*/ 726903 h 1023226"/>
              <a:gd name="connsiteX54" fmla="*/ 718566 w 15115867"/>
              <a:gd name="connsiteY54" fmla="*/ 615842 h 1023226"/>
              <a:gd name="connsiteX55" fmla="*/ 790956 w 15115867"/>
              <a:gd name="connsiteY55" fmla="*/ 507733 h 1023226"/>
              <a:gd name="connsiteX56" fmla="*/ 843725 w 15115867"/>
              <a:gd name="connsiteY56" fmla="*/ 507447 h 1023226"/>
              <a:gd name="connsiteX57" fmla="*/ 861060 w 15115867"/>
              <a:gd name="connsiteY57" fmla="*/ 479634 h 1023226"/>
              <a:gd name="connsiteX58" fmla="*/ 767239 w 15115867"/>
              <a:gd name="connsiteY58" fmla="*/ 479634 h 1023226"/>
              <a:gd name="connsiteX59" fmla="*/ 691229 w 15115867"/>
              <a:gd name="connsiteY59" fmla="*/ 351047 h 1023226"/>
              <a:gd name="connsiteX60" fmla="*/ 689229 w 15115867"/>
              <a:gd name="connsiteY60" fmla="*/ 270084 h 1023226"/>
              <a:gd name="connsiteX61" fmla="*/ 640271 w 15115867"/>
              <a:gd name="connsiteY61" fmla="*/ 204076 h 1023226"/>
              <a:gd name="connsiteX62" fmla="*/ 532352 w 15115867"/>
              <a:gd name="connsiteY62" fmla="*/ 203124 h 1023226"/>
              <a:gd name="connsiteX63" fmla="*/ 483108 w 15115867"/>
              <a:gd name="connsiteY63" fmla="*/ 288087 h 1023226"/>
              <a:gd name="connsiteX64" fmla="*/ 271082 w 15115867"/>
              <a:gd name="connsiteY64" fmla="*/ 288087 h 1023226"/>
              <a:gd name="connsiteX65" fmla="*/ 227743 w 15115867"/>
              <a:gd name="connsiteY65" fmla="*/ 216459 h 1023226"/>
              <a:gd name="connsiteX66" fmla="*/ 200216 w 15115867"/>
              <a:gd name="connsiteY66" fmla="*/ 216459 h 1023226"/>
              <a:gd name="connsiteX67" fmla="*/ 152019 w 15115867"/>
              <a:gd name="connsiteY67" fmla="*/ 307803 h 1023226"/>
              <a:gd name="connsiteX68" fmla="*/ 150781 w 15115867"/>
              <a:gd name="connsiteY68" fmla="*/ 358667 h 1023226"/>
              <a:gd name="connsiteX69" fmla="*/ 153638 w 15115867"/>
              <a:gd name="connsiteY69" fmla="*/ 363239 h 1023226"/>
              <a:gd name="connsiteX70" fmla="*/ 157353 w 15115867"/>
              <a:gd name="connsiteY70" fmla="*/ 363144 h 1023226"/>
              <a:gd name="connsiteX71" fmla="*/ 161068 w 15115867"/>
              <a:gd name="connsiteY71" fmla="*/ 358667 h 1023226"/>
              <a:gd name="connsiteX72" fmla="*/ 525304 w 15115867"/>
              <a:gd name="connsiteY72" fmla="*/ 358857 h 1023226"/>
              <a:gd name="connsiteX73" fmla="*/ 578739 w 15115867"/>
              <a:gd name="connsiteY73" fmla="*/ 273418 h 1023226"/>
              <a:gd name="connsiteX74" fmla="*/ 607314 w 15115867"/>
              <a:gd name="connsiteY74" fmla="*/ 273418 h 1023226"/>
              <a:gd name="connsiteX75" fmla="*/ 629317 w 15115867"/>
              <a:gd name="connsiteY75" fmla="*/ 302374 h 1023226"/>
              <a:gd name="connsiteX76" fmla="*/ 629317 w 15115867"/>
              <a:gd name="connsiteY76" fmla="*/ 382003 h 1023226"/>
              <a:gd name="connsiteX77" fmla="*/ 704945 w 15115867"/>
              <a:gd name="connsiteY77" fmla="*/ 508971 h 1023226"/>
              <a:gd name="connsiteX78" fmla="*/ 648938 w 15115867"/>
              <a:gd name="connsiteY78" fmla="*/ 593077 h 1023226"/>
              <a:gd name="connsiteX79" fmla="*/ 647510 w 15115867"/>
              <a:gd name="connsiteY79" fmla="*/ 710235 h 1023226"/>
              <a:gd name="connsiteX80" fmla="*/ 603409 w 15115867"/>
              <a:gd name="connsiteY80" fmla="*/ 776529 h 1023226"/>
              <a:gd name="connsiteX81" fmla="*/ 563404 w 15115867"/>
              <a:gd name="connsiteY81" fmla="*/ 709377 h 1023226"/>
              <a:gd name="connsiteX82" fmla="*/ 563404 w 15115867"/>
              <a:gd name="connsiteY82" fmla="*/ 638321 h 1023226"/>
              <a:gd name="connsiteX83" fmla="*/ 537496 w 15115867"/>
              <a:gd name="connsiteY83" fmla="*/ 595935 h 1023226"/>
              <a:gd name="connsiteX84" fmla="*/ 537496 w 15115867"/>
              <a:gd name="connsiteY84" fmla="*/ 496398 h 1023226"/>
              <a:gd name="connsiteX85" fmla="*/ 498824 w 15115867"/>
              <a:gd name="connsiteY85" fmla="*/ 428676 h 1023226"/>
              <a:gd name="connsiteX86" fmla="*/ 581120 w 15115867"/>
              <a:gd name="connsiteY86" fmla="*/ 428676 h 1023226"/>
              <a:gd name="connsiteX87" fmla="*/ 627698 w 15115867"/>
              <a:gd name="connsiteY87" fmla="*/ 503256 h 1023226"/>
              <a:gd name="connsiteX88" fmla="*/ 592550 w 15115867"/>
              <a:gd name="connsiteY88" fmla="*/ 556406 h 1023226"/>
              <a:gd name="connsiteX0" fmla="*/ 15083451 w 15083451"/>
              <a:gd name="connsiteY0" fmla="*/ 5158 h 963549"/>
              <a:gd name="connsiteX1" fmla="*/ 439579 w 15083451"/>
              <a:gd name="connsiteY1" fmla="*/ 0 h 963549"/>
              <a:gd name="connsiteX2" fmla="*/ 399955 w 15083451"/>
              <a:gd name="connsiteY2" fmla="*/ 72009 h 963549"/>
              <a:gd name="connsiteX3" fmla="*/ 351377 w 15083451"/>
              <a:gd name="connsiteY3" fmla="*/ 72390 h 963549"/>
              <a:gd name="connsiteX4" fmla="*/ 307467 w 15083451"/>
              <a:gd name="connsiteY4" fmla="*/ 0 h 963549"/>
              <a:gd name="connsiteX5" fmla="*/ 118967 w 15083451"/>
              <a:gd name="connsiteY5" fmla="*/ 0 h 963549"/>
              <a:gd name="connsiteX6" fmla="*/ 0 w 15083451"/>
              <a:gd name="connsiteY6" fmla="*/ 199739 h 963549"/>
              <a:gd name="connsiteX7" fmla="*/ 0 w 15083451"/>
              <a:gd name="connsiteY7" fmla="*/ 342138 h 963549"/>
              <a:gd name="connsiteX8" fmla="*/ 78296 w 15083451"/>
              <a:gd name="connsiteY8" fmla="*/ 463772 h 963549"/>
              <a:gd name="connsiteX9" fmla="*/ 204216 w 15083451"/>
              <a:gd name="connsiteY9" fmla="*/ 463772 h 963549"/>
              <a:gd name="connsiteX10" fmla="*/ 219647 w 15083451"/>
              <a:gd name="connsiteY10" fmla="*/ 437007 h 963549"/>
              <a:gd name="connsiteX11" fmla="*/ 381000 w 15083451"/>
              <a:gd name="connsiteY11" fmla="*/ 437007 h 963549"/>
              <a:gd name="connsiteX12" fmla="*/ 399288 w 15083451"/>
              <a:gd name="connsiteY12" fmla="*/ 469773 h 963549"/>
              <a:gd name="connsiteX13" fmla="*/ 399288 w 15083451"/>
              <a:gd name="connsiteY13" fmla="*/ 568071 h 963549"/>
              <a:gd name="connsiteX14" fmla="*/ 434245 w 15083451"/>
              <a:gd name="connsiteY14" fmla="*/ 628841 h 963549"/>
              <a:gd name="connsiteX15" fmla="*/ 434054 w 15083451"/>
              <a:gd name="connsiteY15" fmla="*/ 693325 h 963549"/>
              <a:gd name="connsiteX16" fmla="*/ 492728 w 15083451"/>
              <a:gd name="connsiteY16" fmla="*/ 800005 h 963549"/>
              <a:gd name="connsiteX17" fmla="*/ 492728 w 15083451"/>
              <a:gd name="connsiteY17" fmla="*/ 884873 h 963549"/>
              <a:gd name="connsiteX18" fmla="*/ 559118 w 15083451"/>
              <a:gd name="connsiteY18" fmla="*/ 962978 h 963549"/>
              <a:gd name="connsiteX19" fmla="*/ 645414 w 15083451"/>
              <a:gd name="connsiteY19" fmla="*/ 963549 h 963549"/>
              <a:gd name="connsiteX20" fmla="*/ 688372 w 15083451"/>
              <a:gd name="connsiteY20" fmla="*/ 892112 h 963549"/>
              <a:gd name="connsiteX21" fmla="*/ 688372 w 15083451"/>
              <a:gd name="connsiteY21" fmla="*/ 837914 h 963549"/>
              <a:gd name="connsiteX22" fmla="*/ 784479 w 15083451"/>
              <a:gd name="connsiteY22" fmla="*/ 687229 h 963549"/>
              <a:gd name="connsiteX23" fmla="*/ 784479 w 15083451"/>
              <a:gd name="connsiteY23" fmla="*/ 586169 h 963549"/>
              <a:gd name="connsiteX24" fmla="*/ 831152 w 15083451"/>
              <a:gd name="connsiteY24" fmla="*/ 512636 h 963549"/>
              <a:gd name="connsiteX25" fmla="*/ 886968 w 15083451"/>
              <a:gd name="connsiteY25" fmla="*/ 513207 h 963549"/>
              <a:gd name="connsiteX26" fmla="*/ 979075 w 15083451"/>
              <a:gd name="connsiteY26" fmla="*/ 352139 h 963549"/>
              <a:gd name="connsiteX27" fmla="*/ 809530 w 15083451"/>
              <a:gd name="connsiteY27" fmla="*/ 352139 h 963549"/>
              <a:gd name="connsiteX28" fmla="*/ 761333 w 15083451"/>
              <a:gd name="connsiteY28" fmla="*/ 269367 h 963549"/>
              <a:gd name="connsiteX29" fmla="*/ 761429 w 15083451"/>
              <a:gd name="connsiteY29" fmla="*/ 189357 h 963549"/>
              <a:gd name="connsiteX30" fmla="*/ 681419 w 15083451"/>
              <a:gd name="connsiteY30" fmla="*/ 77438 h 963549"/>
              <a:gd name="connsiteX31" fmla="*/ 655511 w 15083451"/>
              <a:gd name="connsiteY31" fmla="*/ 77438 h 963549"/>
              <a:gd name="connsiteX32" fmla="*/ 487299 w 15083451"/>
              <a:gd name="connsiteY32" fmla="*/ 77438 h 963549"/>
              <a:gd name="connsiteX33" fmla="*/ 443293 w 15083451"/>
              <a:gd name="connsiteY33" fmla="*/ 153448 h 963549"/>
              <a:gd name="connsiteX34" fmla="*/ 316421 w 15083451"/>
              <a:gd name="connsiteY34" fmla="*/ 153448 h 963549"/>
              <a:gd name="connsiteX35" fmla="*/ 265843 w 15083451"/>
              <a:gd name="connsiteY35" fmla="*/ 67056 h 963549"/>
              <a:gd name="connsiteX36" fmla="*/ 159639 w 15083451"/>
              <a:gd name="connsiteY36" fmla="*/ 67056 h 963549"/>
              <a:gd name="connsiteX37" fmla="*/ 71914 w 15083451"/>
              <a:gd name="connsiteY37" fmla="*/ 225457 h 963549"/>
              <a:gd name="connsiteX38" fmla="*/ 71914 w 15083451"/>
              <a:gd name="connsiteY38" fmla="*/ 311753 h 963549"/>
              <a:gd name="connsiteX39" fmla="*/ 121825 w 15083451"/>
              <a:gd name="connsiteY39" fmla="*/ 393192 h 963549"/>
              <a:gd name="connsiteX40" fmla="*/ 160687 w 15083451"/>
              <a:gd name="connsiteY40" fmla="*/ 393192 h 963549"/>
              <a:gd name="connsiteX41" fmla="*/ 173260 w 15083451"/>
              <a:gd name="connsiteY41" fmla="*/ 370332 h 963549"/>
              <a:gd name="connsiteX42" fmla="*/ 416433 w 15083451"/>
              <a:gd name="connsiteY42" fmla="*/ 370332 h 963549"/>
              <a:gd name="connsiteX43" fmla="*/ 465392 w 15083451"/>
              <a:gd name="connsiteY43" fmla="*/ 455676 h 963549"/>
              <a:gd name="connsiteX44" fmla="*/ 465392 w 15083451"/>
              <a:gd name="connsiteY44" fmla="*/ 556736 h 963549"/>
              <a:gd name="connsiteX45" fmla="*/ 500443 w 15083451"/>
              <a:gd name="connsiteY45" fmla="*/ 616839 h 963549"/>
              <a:gd name="connsiteX46" fmla="*/ 500443 w 15083451"/>
              <a:gd name="connsiteY46" fmla="*/ 678275 h 963549"/>
              <a:gd name="connsiteX47" fmla="*/ 563309 w 15083451"/>
              <a:gd name="connsiteY47" fmla="*/ 783527 h 963549"/>
              <a:gd name="connsiteX48" fmla="*/ 563309 w 15083451"/>
              <a:gd name="connsiteY48" fmla="*/ 847344 h 963549"/>
              <a:gd name="connsiteX49" fmla="*/ 594932 w 15083451"/>
              <a:gd name="connsiteY49" fmla="*/ 888492 h 963549"/>
              <a:gd name="connsiteX50" fmla="*/ 609124 w 15083451"/>
              <a:gd name="connsiteY50" fmla="*/ 888492 h 963549"/>
              <a:gd name="connsiteX51" fmla="*/ 628460 w 15083451"/>
              <a:gd name="connsiteY51" fmla="*/ 856488 h 963549"/>
              <a:gd name="connsiteX52" fmla="*/ 628460 w 15083451"/>
              <a:gd name="connsiteY52" fmla="*/ 810292 h 963549"/>
              <a:gd name="connsiteX53" fmla="*/ 717899 w 15083451"/>
              <a:gd name="connsiteY53" fmla="*/ 667226 h 963549"/>
              <a:gd name="connsiteX54" fmla="*/ 718566 w 15083451"/>
              <a:gd name="connsiteY54" fmla="*/ 556165 h 963549"/>
              <a:gd name="connsiteX55" fmla="*/ 790956 w 15083451"/>
              <a:gd name="connsiteY55" fmla="*/ 448056 h 963549"/>
              <a:gd name="connsiteX56" fmla="*/ 843725 w 15083451"/>
              <a:gd name="connsiteY56" fmla="*/ 447770 h 963549"/>
              <a:gd name="connsiteX57" fmla="*/ 861060 w 15083451"/>
              <a:gd name="connsiteY57" fmla="*/ 419957 h 963549"/>
              <a:gd name="connsiteX58" fmla="*/ 767239 w 15083451"/>
              <a:gd name="connsiteY58" fmla="*/ 419957 h 963549"/>
              <a:gd name="connsiteX59" fmla="*/ 691229 w 15083451"/>
              <a:gd name="connsiteY59" fmla="*/ 291370 h 963549"/>
              <a:gd name="connsiteX60" fmla="*/ 689229 w 15083451"/>
              <a:gd name="connsiteY60" fmla="*/ 210407 h 963549"/>
              <a:gd name="connsiteX61" fmla="*/ 640271 w 15083451"/>
              <a:gd name="connsiteY61" fmla="*/ 144399 h 963549"/>
              <a:gd name="connsiteX62" fmla="*/ 532352 w 15083451"/>
              <a:gd name="connsiteY62" fmla="*/ 143447 h 963549"/>
              <a:gd name="connsiteX63" fmla="*/ 483108 w 15083451"/>
              <a:gd name="connsiteY63" fmla="*/ 228410 h 963549"/>
              <a:gd name="connsiteX64" fmla="*/ 271082 w 15083451"/>
              <a:gd name="connsiteY64" fmla="*/ 228410 h 963549"/>
              <a:gd name="connsiteX65" fmla="*/ 227743 w 15083451"/>
              <a:gd name="connsiteY65" fmla="*/ 156782 h 963549"/>
              <a:gd name="connsiteX66" fmla="*/ 200216 w 15083451"/>
              <a:gd name="connsiteY66" fmla="*/ 156782 h 963549"/>
              <a:gd name="connsiteX67" fmla="*/ 152019 w 15083451"/>
              <a:gd name="connsiteY67" fmla="*/ 248126 h 963549"/>
              <a:gd name="connsiteX68" fmla="*/ 150781 w 15083451"/>
              <a:gd name="connsiteY68" fmla="*/ 298990 h 963549"/>
              <a:gd name="connsiteX69" fmla="*/ 153638 w 15083451"/>
              <a:gd name="connsiteY69" fmla="*/ 303562 h 963549"/>
              <a:gd name="connsiteX70" fmla="*/ 157353 w 15083451"/>
              <a:gd name="connsiteY70" fmla="*/ 303467 h 963549"/>
              <a:gd name="connsiteX71" fmla="*/ 161068 w 15083451"/>
              <a:gd name="connsiteY71" fmla="*/ 298990 h 963549"/>
              <a:gd name="connsiteX72" fmla="*/ 525304 w 15083451"/>
              <a:gd name="connsiteY72" fmla="*/ 299180 h 963549"/>
              <a:gd name="connsiteX73" fmla="*/ 578739 w 15083451"/>
              <a:gd name="connsiteY73" fmla="*/ 213741 h 963549"/>
              <a:gd name="connsiteX74" fmla="*/ 607314 w 15083451"/>
              <a:gd name="connsiteY74" fmla="*/ 213741 h 963549"/>
              <a:gd name="connsiteX75" fmla="*/ 629317 w 15083451"/>
              <a:gd name="connsiteY75" fmla="*/ 242697 h 963549"/>
              <a:gd name="connsiteX76" fmla="*/ 629317 w 15083451"/>
              <a:gd name="connsiteY76" fmla="*/ 322326 h 963549"/>
              <a:gd name="connsiteX77" fmla="*/ 704945 w 15083451"/>
              <a:gd name="connsiteY77" fmla="*/ 449294 h 963549"/>
              <a:gd name="connsiteX78" fmla="*/ 648938 w 15083451"/>
              <a:gd name="connsiteY78" fmla="*/ 533400 h 963549"/>
              <a:gd name="connsiteX79" fmla="*/ 647510 w 15083451"/>
              <a:gd name="connsiteY79" fmla="*/ 650558 h 963549"/>
              <a:gd name="connsiteX80" fmla="*/ 603409 w 15083451"/>
              <a:gd name="connsiteY80" fmla="*/ 716852 h 963549"/>
              <a:gd name="connsiteX81" fmla="*/ 563404 w 15083451"/>
              <a:gd name="connsiteY81" fmla="*/ 649700 h 963549"/>
              <a:gd name="connsiteX82" fmla="*/ 563404 w 15083451"/>
              <a:gd name="connsiteY82" fmla="*/ 578644 h 963549"/>
              <a:gd name="connsiteX83" fmla="*/ 537496 w 15083451"/>
              <a:gd name="connsiteY83" fmla="*/ 536258 h 963549"/>
              <a:gd name="connsiteX84" fmla="*/ 537496 w 15083451"/>
              <a:gd name="connsiteY84" fmla="*/ 436721 h 963549"/>
              <a:gd name="connsiteX85" fmla="*/ 498824 w 15083451"/>
              <a:gd name="connsiteY85" fmla="*/ 368999 h 963549"/>
              <a:gd name="connsiteX86" fmla="*/ 581120 w 15083451"/>
              <a:gd name="connsiteY86" fmla="*/ 368999 h 963549"/>
              <a:gd name="connsiteX87" fmla="*/ 627698 w 15083451"/>
              <a:gd name="connsiteY87" fmla="*/ 443579 h 963549"/>
              <a:gd name="connsiteX88" fmla="*/ 592550 w 15083451"/>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5083451" h="963549">
                <a:moveTo>
                  <a:pt x="15083451" y="5158"/>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3" name="Rectangle 32">
            <a:extLst>
              <a:ext uri="{FF2B5EF4-FFF2-40B4-BE49-F238E27FC236}">
                <a16:creationId xmlns:a16="http://schemas.microsoft.com/office/drawing/2014/main" id="{940B27B1-9BEE-85F0-5F8D-2FE6D5DDD203}"/>
              </a:ext>
            </a:extLst>
          </p:cNvPr>
          <p:cNvSpPr/>
          <p:nvPr userDrawn="1"/>
        </p:nvSpPr>
        <p:spPr>
          <a:xfrm>
            <a:off x="501343" y="85754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4" name="Rectangle 33">
            <a:extLst>
              <a:ext uri="{FF2B5EF4-FFF2-40B4-BE49-F238E27FC236}">
                <a16:creationId xmlns:a16="http://schemas.microsoft.com/office/drawing/2014/main" id="{4A1B3B9E-600F-FC15-707B-431B65AD49C7}"/>
              </a:ext>
            </a:extLst>
          </p:cNvPr>
          <p:cNvSpPr/>
          <p:nvPr userDrawn="1"/>
        </p:nvSpPr>
        <p:spPr>
          <a:xfrm>
            <a:off x="380693" y="914693"/>
            <a:ext cx="432048"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
        <p:nvSpPr>
          <p:cNvPr id="35" name="Rectangle 34">
            <a:extLst>
              <a:ext uri="{FF2B5EF4-FFF2-40B4-BE49-F238E27FC236}">
                <a16:creationId xmlns:a16="http://schemas.microsoft.com/office/drawing/2014/main" id="{ED1B1B81-36CD-9D78-49C8-71B7E7E54A6F}"/>
              </a:ext>
            </a:extLst>
          </p:cNvPr>
          <p:cNvSpPr/>
          <p:nvPr userDrawn="1"/>
        </p:nvSpPr>
        <p:spPr>
          <a:xfrm>
            <a:off x="69295" y="867068"/>
            <a:ext cx="362505" cy="72008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US" sz="923">
              <a:solidFill>
                <a:schemeClr val="tx1"/>
              </a:solidFill>
            </a:endParaRPr>
          </a:p>
        </p:txBody>
      </p:sp>
    </p:spTree>
    <p:extLst>
      <p:ext uri="{BB962C8B-B14F-4D97-AF65-F5344CB8AC3E}">
        <p14:creationId xmlns:p14="http://schemas.microsoft.com/office/powerpoint/2010/main" val="1470881603"/>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48" r:id="rId9"/>
    <p:sldLayoutId id="2147483789" r:id="rId10"/>
    <p:sldLayoutId id="2147483790" r:id="rId11"/>
    <p:sldLayoutId id="2147483754"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Lst>
  <p:hf hdr="0" ftr="0" dt="0"/>
  <p:txStyles>
    <p:title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9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2" Type="http://schemas.openxmlformats.org/officeDocument/2006/relationships/hyperlink" Target="https://transnetetenders.azurewebsites.net/" TargetMode="Externa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jpe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hyperlink" Target="mailto:Hlengiwe.Zulu@transnet.net" TargetMode="Externa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1" name="Freeform 540">
            <a:extLst>
              <a:ext uri="{FF2B5EF4-FFF2-40B4-BE49-F238E27FC236}">
                <a16:creationId xmlns:a16="http://schemas.microsoft.com/office/drawing/2014/main" id="{79A2E5CA-46F8-7CDC-E057-63E41A8AD015}"/>
              </a:ext>
            </a:extLst>
          </p:cNvPr>
          <p:cNvSpPr/>
          <p:nvPr/>
        </p:nvSpPr>
        <p:spPr>
          <a:xfrm>
            <a:off x="0" y="0"/>
            <a:ext cx="12196437" cy="6857320"/>
          </a:xfrm>
          <a:custGeom>
            <a:avLst/>
            <a:gdLst>
              <a:gd name="connsiteX0" fmla="*/ 1322551 w 12196437"/>
              <a:gd name="connsiteY0" fmla="*/ 917119 h 6880475"/>
              <a:gd name="connsiteX1" fmla="*/ 642578 w 12196437"/>
              <a:gd name="connsiteY1" fmla="*/ 2059126 h 6880475"/>
              <a:gd name="connsiteX2" fmla="*/ 642578 w 12196437"/>
              <a:gd name="connsiteY2" fmla="*/ 2878457 h 6880475"/>
              <a:gd name="connsiteX3" fmla="*/ 1108528 w 12196437"/>
              <a:gd name="connsiteY3" fmla="*/ 3602271 h 6880475"/>
              <a:gd name="connsiteX4" fmla="*/ 1899683 w 12196437"/>
              <a:gd name="connsiteY4" fmla="*/ 3602271 h 6880475"/>
              <a:gd name="connsiteX5" fmla="*/ 1982058 w 12196437"/>
              <a:gd name="connsiteY5" fmla="*/ 3459631 h 6880475"/>
              <a:gd name="connsiteX6" fmla="*/ 2716485 w 12196437"/>
              <a:gd name="connsiteY6" fmla="*/ 3459631 h 6880475"/>
              <a:gd name="connsiteX7" fmla="*/ 2769423 w 12196437"/>
              <a:gd name="connsiteY7" fmla="*/ 3554387 h 6880475"/>
              <a:gd name="connsiteX8" fmla="*/ 2769423 w 12196437"/>
              <a:gd name="connsiteY8" fmla="*/ 4078708 h 6880475"/>
              <a:gd name="connsiteX9" fmla="*/ 2955399 w 12196437"/>
              <a:gd name="connsiteY9" fmla="*/ 4402397 h 6880475"/>
              <a:gd name="connsiteX10" fmla="*/ 2954388 w 12196437"/>
              <a:gd name="connsiteY10" fmla="*/ 4744531 h 6880475"/>
              <a:gd name="connsiteX11" fmla="*/ 3267086 w 12196437"/>
              <a:gd name="connsiteY11" fmla="*/ 5313072 h 6880475"/>
              <a:gd name="connsiteX12" fmla="*/ 3267086 w 12196437"/>
              <a:gd name="connsiteY12" fmla="*/ 5777000 h 6880475"/>
              <a:gd name="connsiteX13" fmla="*/ 3677951 w 12196437"/>
              <a:gd name="connsiteY13" fmla="*/ 6260639 h 6880475"/>
              <a:gd name="connsiteX14" fmla="*/ 4248259 w 12196437"/>
              <a:gd name="connsiteY14" fmla="*/ 6264176 h 6880475"/>
              <a:gd name="connsiteX15" fmla="*/ 4523812 w 12196437"/>
              <a:gd name="connsiteY15" fmla="*/ 5805807 h 6880475"/>
              <a:gd name="connsiteX16" fmla="*/ 4523812 w 12196437"/>
              <a:gd name="connsiteY16" fmla="*/ 5519010 h 6880475"/>
              <a:gd name="connsiteX17" fmla="*/ 5035877 w 12196437"/>
              <a:gd name="connsiteY17" fmla="*/ 4716736 h 6880475"/>
              <a:gd name="connsiteX18" fmla="*/ 5035877 w 12196437"/>
              <a:gd name="connsiteY18" fmla="*/ 4178518 h 6880475"/>
              <a:gd name="connsiteX19" fmla="*/ 5235624 w 12196437"/>
              <a:gd name="connsiteY19" fmla="*/ 3862662 h 6880475"/>
              <a:gd name="connsiteX20" fmla="*/ 5536950 w 12196437"/>
              <a:gd name="connsiteY20" fmla="*/ 3866200 h 6880475"/>
              <a:gd name="connsiteX21" fmla="*/ 6150722 w 12196437"/>
              <a:gd name="connsiteY21" fmla="*/ 2792291 h 6880475"/>
              <a:gd name="connsiteX22" fmla="*/ 5124064 w 12196437"/>
              <a:gd name="connsiteY22" fmla="*/ 2792291 h 6880475"/>
              <a:gd name="connsiteX23" fmla="*/ 4913199 w 12196437"/>
              <a:gd name="connsiteY23" fmla="*/ 2429941 h 6880475"/>
              <a:gd name="connsiteX24" fmla="*/ 4913199 w 12196437"/>
              <a:gd name="connsiteY24" fmla="*/ 1998230 h 6880475"/>
              <a:gd name="connsiteX25" fmla="*/ 4398481 w 12196437"/>
              <a:gd name="connsiteY25" fmla="*/ 1286670 h 6880475"/>
              <a:gd name="connsiteX26" fmla="*/ 3246239 w 12196437"/>
              <a:gd name="connsiteY26" fmla="*/ 1286670 h 6880475"/>
              <a:gd name="connsiteX27" fmla="*/ 3001135 w 12196437"/>
              <a:gd name="connsiteY27" fmla="*/ 1734048 h 6880475"/>
              <a:gd name="connsiteX28" fmla="*/ 2497029 w 12196437"/>
              <a:gd name="connsiteY28" fmla="*/ 1734048 h 6880475"/>
              <a:gd name="connsiteX29" fmla="*/ 2227921 w 12196437"/>
              <a:gd name="connsiteY29" fmla="*/ 1274036 h 6880475"/>
              <a:gd name="connsiteX30" fmla="*/ 1498168 w 12196437"/>
              <a:gd name="connsiteY30" fmla="*/ 1274036 h 6880475"/>
              <a:gd name="connsiteX31" fmla="*/ 985470 w 12196437"/>
              <a:gd name="connsiteY31" fmla="*/ 2182310 h 6880475"/>
              <a:gd name="connsiteX32" fmla="*/ 998104 w 12196437"/>
              <a:gd name="connsiteY32" fmla="*/ 2763485 h 6880475"/>
              <a:gd name="connsiteX33" fmla="*/ 1323436 w 12196437"/>
              <a:gd name="connsiteY33" fmla="*/ 3233478 h 6880475"/>
              <a:gd name="connsiteX34" fmla="*/ 1704231 w 12196437"/>
              <a:gd name="connsiteY34" fmla="*/ 3233478 h 6880475"/>
              <a:gd name="connsiteX35" fmla="*/ 1841439 w 12196437"/>
              <a:gd name="connsiteY35" fmla="*/ 3054072 h 6880475"/>
              <a:gd name="connsiteX36" fmla="*/ 2888059 w 12196437"/>
              <a:gd name="connsiteY36" fmla="*/ 3054072 h 6880475"/>
              <a:gd name="connsiteX37" fmla="*/ 3121791 w 12196437"/>
              <a:gd name="connsiteY37" fmla="*/ 3479213 h 6880475"/>
              <a:gd name="connsiteX38" fmla="*/ 3121791 w 12196437"/>
              <a:gd name="connsiteY38" fmla="*/ 4018947 h 6880475"/>
              <a:gd name="connsiteX39" fmla="*/ 3308400 w 12196437"/>
              <a:gd name="connsiteY39" fmla="*/ 4339225 h 6880475"/>
              <a:gd name="connsiteX40" fmla="*/ 3308400 w 12196437"/>
              <a:gd name="connsiteY40" fmla="*/ 4666958 h 6880475"/>
              <a:gd name="connsiteX41" fmla="*/ 3643332 w 12196437"/>
              <a:gd name="connsiteY41" fmla="*/ 5227159 h 6880475"/>
              <a:gd name="connsiteX42" fmla="*/ 3643332 w 12196437"/>
              <a:gd name="connsiteY42" fmla="*/ 5573716 h 6880475"/>
              <a:gd name="connsiteX43" fmla="*/ 3866074 w 12196437"/>
              <a:gd name="connsiteY43" fmla="*/ 5864303 h 6880475"/>
              <a:gd name="connsiteX44" fmla="*/ 4054577 w 12196437"/>
              <a:gd name="connsiteY44" fmla="*/ 5864303 h 6880475"/>
              <a:gd name="connsiteX45" fmla="*/ 4204672 w 12196437"/>
              <a:gd name="connsiteY45" fmla="*/ 5616293 h 6880475"/>
              <a:gd name="connsiteX46" fmla="*/ 4204672 w 12196437"/>
              <a:gd name="connsiteY46" fmla="*/ 5371063 h 6880475"/>
              <a:gd name="connsiteX47" fmla="*/ 4680603 w 12196437"/>
              <a:gd name="connsiteY47" fmla="*/ 4609724 h 6880475"/>
              <a:gd name="connsiteX48" fmla="*/ 4684646 w 12196437"/>
              <a:gd name="connsiteY48" fmla="*/ 4017179 h 6880475"/>
              <a:gd name="connsiteX49" fmla="*/ 4956281 w 12196437"/>
              <a:gd name="connsiteY49" fmla="*/ 3560957 h 6880475"/>
              <a:gd name="connsiteX50" fmla="*/ 5339856 w 12196437"/>
              <a:gd name="connsiteY50" fmla="*/ 3559441 h 6880475"/>
              <a:gd name="connsiteX51" fmla="*/ 5613009 w 12196437"/>
              <a:gd name="connsiteY51" fmla="*/ 3098544 h 6880475"/>
              <a:gd name="connsiteX52" fmla="*/ 4927349 w 12196437"/>
              <a:gd name="connsiteY52" fmla="*/ 3096017 h 6880475"/>
              <a:gd name="connsiteX53" fmla="*/ 4568411 w 12196437"/>
              <a:gd name="connsiteY53" fmla="*/ 2507768 h 6880475"/>
              <a:gd name="connsiteX54" fmla="*/ 4582687 w 12196437"/>
              <a:gd name="connsiteY54" fmla="*/ 2127225 h 6880475"/>
              <a:gd name="connsiteX55" fmla="*/ 4252934 w 12196437"/>
              <a:gd name="connsiteY55" fmla="*/ 1643207 h 6880475"/>
              <a:gd name="connsiteX56" fmla="*/ 3444344 w 12196437"/>
              <a:gd name="connsiteY56" fmla="*/ 1638786 h 6880475"/>
              <a:gd name="connsiteX57" fmla="*/ 3194438 w 12196437"/>
              <a:gd name="connsiteY57" fmla="*/ 2076941 h 6880475"/>
              <a:gd name="connsiteX58" fmla="*/ 2278710 w 12196437"/>
              <a:gd name="connsiteY58" fmla="*/ 2076941 h 6880475"/>
              <a:gd name="connsiteX59" fmla="*/ 2053568 w 12196437"/>
              <a:gd name="connsiteY59" fmla="*/ 1657105 h 6880475"/>
              <a:gd name="connsiteX60" fmla="*/ 1715602 w 12196437"/>
              <a:gd name="connsiteY60" fmla="*/ 1657105 h 6880475"/>
              <a:gd name="connsiteX61" fmla="*/ 1365381 w 12196437"/>
              <a:gd name="connsiteY61" fmla="*/ 2321286 h 6880475"/>
              <a:gd name="connsiteX62" fmla="*/ 1372331 w 12196437"/>
              <a:gd name="connsiteY62" fmla="*/ 2653694 h 6880475"/>
              <a:gd name="connsiteX63" fmla="*/ 1441818 w 12196437"/>
              <a:gd name="connsiteY63" fmla="*/ 2745670 h 6880475"/>
              <a:gd name="connsiteX64" fmla="*/ 1553125 w 12196437"/>
              <a:gd name="connsiteY64" fmla="*/ 2743775 h 6880475"/>
              <a:gd name="connsiteX65" fmla="*/ 1649399 w 12196437"/>
              <a:gd name="connsiteY65" fmla="*/ 2662411 h 6880475"/>
              <a:gd name="connsiteX66" fmla="*/ 3697281 w 12196437"/>
              <a:gd name="connsiteY66" fmla="*/ 2663801 h 6880475"/>
              <a:gd name="connsiteX67" fmla="*/ 3898038 w 12196437"/>
              <a:gd name="connsiteY67" fmla="*/ 2270370 h 6880475"/>
              <a:gd name="connsiteX68" fmla="*/ 3931141 w 12196437"/>
              <a:gd name="connsiteY68" fmla="*/ 2270370 h 6880475"/>
              <a:gd name="connsiteX69" fmla="*/ 3994312 w 12196437"/>
              <a:gd name="connsiteY69" fmla="*/ 2353504 h 6880475"/>
              <a:gd name="connsiteX70" fmla="*/ 3994312 w 12196437"/>
              <a:gd name="connsiteY70" fmla="*/ 2771317 h 6880475"/>
              <a:gd name="connsiteX71" fmla="*/ 4377887 w 12196437"/>
              <a:gd name="connsiteY71" fmla="*/ 3414653 h 6880475"/>
              <a:gd name="connsiteX72" fmla="*/ 4099303 w 12196437"/>
              <a:gd name="connsiteY72" fmla="*/ 3832466 h 6880475"/>
              <a:gd name="connsiteX73" fmla="*/ 4091595 w 12196437"/>
              <a:gd name="connsiteY73" fmla="*/ 4456471 h 6880475"/>
              <a:gd name="connsiteX74" fmla="*/ 3969297 w 12196437"/>
              <a:gd name="connsiteY74" fmla="*/ 4641815 h 6880475"/>
              <a:gd name="connsiteX75" fmla="*/ 3858620 w 12196437"/>
              <a:gd name="connsiteY75" fmla="*/ 4455966 h 6880475"/>
              <a:gd name="connsiteX76" fmla="*/ 3858620 w 12196437"/>
              <a:gd name="connsiteY76" fmla="*/ 4076939 h 6880475"/>
              <a:gd name="connsiteX77" fmla="*/ 3720781 w 12196437"/>
              <a:gd name="connsiteY77" fmla="*/ 3851165 h 6880475"/>
              <a:gd name="connsiteX78" fmla="*/ 3720781 w 12196437"/>
              <a:gd name="connsiteY78" fmla="*/ 3321665 h 6880475"/>
              <a:gd name="connsiteX79" fmla="*/ 3556536 w 12196437"/>
              <a:gd name="connsiteY79" fmla="*/ 3043712 h 6880475"/>
              <a:gd name="connsiteX80" fmla="*/ 3728487 w 12196437"/>
              <a:gd name="connsiteY80" fmla="*/ 3043712 h 6880475"/>
              <a:gd name="connsiteX81" fmla="*/ 3946176 w 12196437"/>
              <a:gd name="connsiteY81" fmla="*/ 3385973 h 6880475"/>
              <a:gd name="connsiteX82" fmla="*/ 3779276 w 12196437"/>
              <a:gd name="connsiteY82" fmla="*/ 3638658 h 6880475"/>
              <a:gd name="connsiteX83" fmla="*/ 3779276 w 12196437"/>
              <a:gd name="connsiteY83" fmla="*/ 3763104 h 6880475"/>
              <a:gd name="connsiteX84" fmla="*/ 3994058 w 12196437"/>
              <a:gd name="connsiteY84" fmla="*/ 3763104 h 6880475"/>
              <a:gd name="connsiteX85" fmla="*/ 3994058 w 12196437"/>
              <a:gd name="connsiteY85" fmla="*/ 3703345 h 6880475"/>
              <a:gd name="connsiteX86" fmla="*/ 4202144 w 12196437"/>
              <a:gd name="connsiteY86" fmla="*/ 3389005 h 6880475"/>
              <a:gd name="connsiteX87" fmla="*/ 3846365 w 12196437"/>
              <a:gd name="connsiteY87" fmla="*/ 2829562 h 6880475"/>
              <a:gd name="connsiteX88" fmla="*/ 3180036 w 12196437"/>
              <a:gd name="connsiteY88" fmla="*/ 2829562 h 6880475"/>
              <a:gd name="connsiteX89" fmla="*/ 3505368 w 12196437"/>
              <a:gd name="connsiteY89" fmla="*/ 3380540 h 6880475"/>
              <a:gd name="connsiteX90" fmla="*/ 3505368 w 12196437"/>
              <a:gd name="connsiteY90" fmla="*/ 3911178 h 6880475"/>
              <a:gd name="connsiteX91" fmla="*/ 3643206 w 12196437"/>
              <a:gd name="connsiteY91" fmla="*/ 4136952 h 6880475"/>
              <a:gd name="connsiteX92" fmla="*/ 3643206 w 12196437"/>
              <a:gd name="connsiteY92" fmla="*/ 4514083 h 6880475"/>
              <a:gd name="connsiteX93" fmla="*/ 3959062 w 12196437"/>
              <a:gd name="connsiteY93" fmla="*/ 5043836 h 6880475"/>
              <a:gd name="connsiteX94" fmla="*/ 4305619 w 12196437"/>
              <a:gd name="connsiteY94" fmla="*/ 4522043 h 6880475"/>
              <a:gd name="connsiteX95" fmla="*/ 4313199 w 12196437"/>
              <a:gd name="connsiteY95" fmla="*/ 3898291 h 6880475"/>
              <a:gd name="connsiteX96" fmla="*/ 4631708 w 12196437"/>
              <a:gd name="connsiteY96" fmla="*/ 3420464 h 6880475"/>
              <a:gd name="connsiteX97" fmla="*/ 4209093 w 12196437"/>
              <a:gd name="connsiteY97" fmla="*/ 2712442 h 6880475"/>
              <a:gd name="connsiteX98" fmla="*/ 4209093 w 12196437"/>
              <a:gd name="connsiteY98" fmla="*/ 2281616 h 6880475"/>
              <a:gd name="connsiteX99" fmla="*/ 4037899 w 12196437"/>
              <a:gd name="connsiteY99" fmla="*/ 2055968 h 6880475"/>
              <a:gd name="connsiteX100" fmla="*/ 3766642 w 12196437"/>
              <a:gd name="connsiteY100" fmla="*/ 2055968 h 6880475"/>
              <a:gd name="connsiteX101" fmla="*/ 3566390 w 12196437"/>
              <a:gd name="connsiteY101" fmla="*/ 2448766 h 6880475"/>
              <a:gd name="connsiteX102" fmla="*/ 1582816 w 12196437"/>
              <a:gd name="connsiteY102" fmla="*/ 2447629 h 6880475"/>
              <a:gd name="connsiteX103" fmla="*/ 1581300 w 12196437"/>
              <a:gd name="connsiteY103" fmla="*/ 2371823 h 6880475"/>
              <a:gd name="connsiteX104" fmla="*/ 1844598 w 12196437"/>
              <a:gd name="connsiteY104" fmla="*/ 1871382 h 6880475"/>
              <a:gd name="connsiteX105" fmla="*/ 1924951 w 12196437"/>
              <a:gd name="connsiteY105" fmla="*/ 1871382 h 6880475"/>
              <a:gd name="connsiteX106" fmla="*/ 2150220 w 12196437"/>
              <a:gd name="connsiteY106" fmla="*/ 2291216 h 6880475"/>
              <a:gd name="connsiteX107" fmla="*/ 3319265 w 12196437"/>
              <a:gd name="connsiteY107" fmla="*/ 2291216 h 6880475"/>
              <a:gd name="connsiteX108" fmla="*/ 3568665 w 12196437"/>
              <a:gd name="connsiteY108" fmla="*/ 1853820 h 6880475"/>
              <a:gd name="connsiteX109" fmla="*/ 4139353 w 12196437"/>
              <a:gd name="connsiteY109" fmla="*/ 1856852 h 6880475"/>
              <a:gd name="connsiteX110" fmla="*/ 4365758 w 12196437"/>
              <a:gd name="connsiteY110" fmla="*/ 2189259 h 6880475"/>
              <a:gd name="connsiteX111" fmla="*/ 4351733 w 12196437"/>
              <a:gd name="connsiteY111" fmla="*/ 2563864 h 6880475"/>
              <a:gd name="connsiteX112" fmla="*/ 4806566 w 12196437"/>
              <a:gd name="connsiteY112" fmla="*/ 3310294 h 6880475"/>
              <a:gd name="connsiteX113" fmla="*/ 5236761 w 12196437"/>
              <a:gd name="connsiteY113" fmla="*/ 3311936 h 6880475"/>
              <a:gd name="connsiteX114" fmla="*/ 5217179 w 12196437"/>
              <a:gd name="connsiteY114" fmla="*/ 3344912 h 6880475"/>
              <a:gd name="connsiteX115" fmla="*/ 4833982 w 12196437"/>
              <a:gd name="connsiteY115" fmla="*/ 3346301 h 6880475"/>
              <a:gd name="connsiteX116" fmla="*/ 4470243 w 12196437"/>
              <a:gd name="connsiteY116" fmla="*/ 3957166 h 6880475"/>
              <a:gd name="connsiteX117" fmla="*/ 4466200 w 12196437"/>
              <a:gd name="connsiteY117" fmla="*/ 4547185 h 6880475"/>
              <a:gd name="connsiteX118" fmla="*/ 3989889 w 12196437"/>
              <a:gd name="connsiteY118" fmla="*/ 5309408 h 6880475"/>
              <a:gd name="connsiteX119" fmla="*/ 3989889 w 12196437"/>
              <a:gd name="connsiteY119" fmla="*/ 5556786 h 6880475"/>
              <a:gd name="connsiteX120" fmla="*/ 3950345 w 12196437"/>
              <a:gd name="connsiteY120" fmla="*/ 5622106 h 6880475"/>
              <a:gd name="connsiteX121" fmla="*/ 3857736 w 12196437"/>
              <a:gd name="connsiteY121" fmla="*/ 5501448 h 6880475"/>
              <a:gd name="connsiteX122" fmla="*/ 3857736 w 12196437"/>
              <a:gd name="connsiteY122" fmla="*/ 5168410 h 6880475"/>
              <a:gd name="connsiteX123" fmla="*/ 3522802 w 12196437"/>
              <a:gd name="connsiteY123" fmla="*/ 4608082 h 6880475"/>
              <a:gd name="connsiteX124" fmla="*/ 3522802 w 12196437"/>
              <a:gd name="connsiteY124" fmla="*/ 4281108 h 6880475"/>
              <a:gd name="connsiteX125" fmla="*/ 3336195 w 12196437"/>
              <a:gd name="connsiteY125" fmla="*/ 3960830 h 6880475"/>
              <a:gd name="connsiteX126" fmla="*/ 3336195 w 12196437"/>
              <a:gd name="connsiteY126" fmla="*/ 3424002 h 6880475"/>
              <a:gd name="connsiteX127" fmla="*/ 3015158 w 12196437"/>
              <a:gd name="connsiteY127" fmla="*/ 2839290 h 6880475"/>
              <a:gd name="connsiteX128" fmla="*/ 1735312 w 12196437"/>
              <a:gd name="connsiteY128" fmla="*/ 2839290 h 6880475"/>
              <a:gd name="connsiteX129" fmla="*/ 1598231 w 12196437"/>
              <a:gd name="connsiteY129" fmla="*/ 3018316 h 6880475"/>
              <a:gd name="connsiteX130" fmla="*/ 1435880 w 12196437"/>
              <a:gd name="connsiteY130" fmla="*/ 3018316 h 6880475"/>
              <a:gd name="connsiteX131" fmla="*/ 1210865 w 12196437"/>
              <a:gd name="connsiteY131" fmla="*/ 2693869 h 6880475"/>
              <a:gd name="connsiteX132" fmla="*/ 1201263 w 12196437"/>
              <a:gd name="connsiteY132" fmla="*/ 2236638 h 6880475"/>
              <a:gd name="connsiteX133" fmla="*/ 1623246 w 12196437"/>
              <a:gd name="connsiteY133" fmla="*/ 1488944 h 6880475"/>
              <a:gd name="connsiteX134" fmla="*/ 2104483 w 12196437"/>
              <a:gd name="connsiteY134" fmla="*/ 1488944 h 6880475"/>
              <a:gd name="connsiteX135" fmla="*/ 2373593 w 12196437"/>
              <a:gd name="connsiteY135" fmla="*/ 1948955 h 6880475"/>
              <a:gd name="connsiteX136" fmla="*/ 3128235 w 12196437"/>
              <a:gd name="connsiteY136" fmla="*/ 1948955 h 6880475"/>
              <a:gd name="connsiteX137" fmla="*/ 3373339 w 12196437"/>
              <a:gd name="connsiteY137" fmla="*/ 1501578 h 6880475"/>
              <a:gd name="connsiteX138" fmla="*/ 4288437 w 12196437"/>
              <a:gd name="connsiteY138" fmla="*/ 1501578 h 6880475"/>
              <a:gd name="connsiteX139" fmla="*/ 4698165 w 12196437"/>
              <a:gd name="connsiteY139" fmla="*/ 2067717 h 6880475"/>
              <a:gd name="connsiteX140" fmla="*/ 4697532 w 12196437"/>
              <a:gd name="connsiteY140" fmla="*/ 2487932 h 6880475"/>
              <a:gd name="connsiteX141" fmla="*/ 4999743 w 12196437"/>
              <a:gd name="connsiteY141" fmla="*/ 3007199 h 6880475"/>
              <a:gd name="connsiteX142" fmla="*/ 5779529 w 12196437"/>
              <a:gd name="connsiteY142" fmla="*/ 3007199 h 6880475"/>
              <a:gd name="connsiteX143" fmla="*/ 5412124 w 12196437"/>
              <a:gd name="connsiteY143" fmla="*/ 3649776 h 6880475"/>
              <a:gd name="connsiteX144" fmla="*/ 5117999 w 12196437"/>
              <a:gd name="connsiteY144" fmla="*/ 3646618 h 6880475"/>
              <a:gd name="connsiteX145" fmla="*/ 4820842 w 12196437"/>
              <a:gd name="connsiteY145" fmla="*/ 4115347 h 6880475"/>
              <a:gd name="connsiteX146" fmla="*/ 4820842 w 12196437"/>
              <a:gd name="connsiteY146" fmla="*/ 4653691 h 6880475"/>
              <a:gd name="connsiteX147" fmla="*/ 4308777 w 12196437"/>
              <a:gd name="connsiteY147" fmla="*/ 5456344 h 6880475"/>
              <a:gd name="connsiteX148" fmla="*/ 4308777 w 12196437"/>
              <a:gd name="connsiteY148" fmla="*/ 5746173 h 6880475"/>
              <a:gd name="connsiteX149" fmla="*/ 4126971 w 12196437"/>
              <a:gd name="connsiteY149" fmla="*/ 6048637 h 6880475"/>
              <a:gd name="connsiteX150" fmla="*/ 3777634 w 12196437"/>
              <a:gd name="connsiteY150" fmla="*/ 6046490 h 6880475"/>
              <a:gd name="connsiteX151" fmla="*/ 3482119 w 12196437"/>
              <a:gd name="connsiteY151" fmla="*/ 5698668 h 6880475"/>
              <a:gd name="connsiteX152" fmla="*/ 3482119 w 12196437"/>
              <a:gd name="connsiteY152" fmla="*/ 5258366 h 6880475"/>
              <a:gd name="connsiteX153" fmla="*/ 3169549 w 12196437"/>
              <a:gd name="connsiteY153" fmla="*/ 4689826 h 6880475"/>
              <a:gd name="connsiteX154" fmla="*/ 3170560 w 12196437"/>
              <a:gd name="connsiteY154" fmla="*/ 4345543 h 6880475"/>
              <a:gd name="connsiteX155" fmla="*/ 2984458 w 12196437"/>
              <a:gd name="connsiteY155" fmla="*/ 4021474 h 6880475"/>
              <a:gd name="connsiteX156" fmla="*/ 2984458 w 12196437"/>
              <a:gd name="connsiteY156" fmla="*/ 3498544 h 6880475"/>
              <a:gd name="connsiteX157" fmla="*/ 2842701 w 12196437"/>
              <a:gd name="connsiteY157" fmla="*/ 3244975 h 6880475"/>
              <a:gd name="connsiteX158" fmla="*/ 1857863 w 12196437"/>
              <a:gd name="connsiteY158" fmla="*/ 3244975 h 6880475"/>
              <a:gd name="connsiteX159" fmla="*/ 1775615 w 12196437"/>
              <a:gd name="connsiteY159" fmla="*/ 3387615 h 6880475"/>
              <a:gd name="connsiteX160" fmla="*/ 1225520 w 12196437"/>
              <a:gd name="connsiteY160" fmla="*/ 3387615 h 6880475"/>
              <a:gd name="connsiteX161" fmla="*/ 857360 w 12196437"/>
              <a:gd name="connsiteY161" fmla="*/ 2815285 h 6880475"/>
              <a:gd name="connsiteX162" fmla="*/ 857360 w 12196437"/>
              <a:gd name="connsiteY162" fmla="*/ 2118254 h 6880475"/>
              <a:gd name="connsiteX163" fmla="*/ 1444599 w 12196437"/>
              <a:gd name="connsiteY163" fmla="*/ 1131901 h 6880475"/>
              <a:gd name="connsiteX164" fmla="*/ 2327351 w 12196437"/>
              <a:gd name="connsiteY164" fmla="*/ 1131901 h 6880475"/>
              <a:gd name="connsiteX165" fmla="*/ 2561211 w 12196437"/>
              <a:gd name="connsiteY165" fmla="*/ 1518003 h 6880475"/>
              <a:gd name="connsiteX166" fmla="*/ 2943775 w 12196437"/>
              <a:gd name="connsiteY166" fmla="*/ 1515476 h 6880475"/>
              <a:gd name="connsiteX167" fmla="*/ 3154640 w 12196437"/>
              <a:gd name="connsiteY167" fmla="*/ 1131901 h 6880475"/>
              <a:gd name="connsiteX168" fmla="*/ 9701445 w 12196437"/>
              <a:gd name="connsiteY168" fmla="*/ 1131901 h 6880475"/>
              <a:gd name="connsiteX169" fmla="*/ 9701445 w 12196437"/>
              <a:gd name="connsiteY169" fmla="*/ 917119 h 6880475"/>
              <a:gd name="connsiteX170" fmla="*/ 3027541 w 12196437"/>
              <a:gd name="connsiteY170" fmla="*/ 917119 h 6880475"/>
              <a:gd name="connsiteX171" fmla="*/ 2816548 w 12196437"/>
              <a:gd name="connsiteY171" fmla="*/ 1301452 h 6880475"/>
              <a:gd name="connsiteX172" fmla="*/ 2681994 w 12196437"/>
              <a:gd name="connsiteY172" fmla="*/ 1302336 h 6880475"/>
              <a:gd name="connsiteX173" fmla="*/ 2448388 w 12196437"/>
              <a:gd name="connsiteY173" fmla="*/ 917119 h 6880475"/>
              <a:gd name="connsiteX174" fmla="*/ 0 w 12196437"/>
              <a:gd name="connsiteY174" fmla="*/ 0 h 6880475"/>
              <a:gd name="connsiteX175" fmla="*/ 11413612 w 12196437"/>
              <a:gd name="connsiteY175" fmla="*/ 0 h 6880475"/>
              <a:gd name="connsiteX176" fmla="*/ 12183186 w 12196437"/>
              <a:gd name="connsiteY176" fmla="*/ 0 h 6880475"/>
              <a:gd name="connsiteX177" fmla="*/ 12196437 w 12196437"/>
              <a:gd name="connsiteY177" fmla="*/ 0 h 6880475"/>
              <a:gd name="connsiteX178" fmla="*/ 12196437 w 12196437"/>
              <a:gd name="connsiteY178" fmla="*/ 6880472 h 6880475"/>
              <a:gd name="connsiteX179" fmla="*/ 12183186 w 12196437"/>
              <a:gd name="connsiteY179" fmla="*/ 6880472 h 6880475"/>
              <a:gd name="connsiteX180" fmla="*/ 12183186 w 12196437"/>
              <a:gd name="connsiteY180" fmla="*/ 6880475 h 6880475"/>
              <a:gd name="connsiteX181" fmla="*/ 0 w 12196437"/>
              <a:gd name="connsiteY181" fmla="*/ 6880475 h 688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2196437" h="6880475">
                <a:moveTo>
                  <a:pt x="1322551" y="917119"/>
                </a:moveTo>
                <a:lnTo>
                  <a:pt x="642578" y="2059126"/>
                </a:lnTo>
                <a:lnTo>
                  <a:pt x="642578" y="2878457"/>
                </a:lnTo>
                <a:lnTo>
                  <a:pt x="1108528" y="3602271"/>
                </a:lnTo>
                <a:lnTo>
                  <a:pt x="1899683" y="3602271"/>
                </a:lnTo>
                <a:lnTo>
                  <a:pt x="1982058" y="3459631"/>
                </a:lnTo>
                <a:lnTo>
                  <a:pt x="2716485" y="3459631"/>
                </a:lnTo>
                <a:lnTo>
                  <a:pt x="2769423" y="3554387"/>
                </a:lnTo>
                <a:lnTo>
                  <a:pt x="2769423" y="4078708"/>
                </a:lnTo>
                <a:lnTo>
                  <a:pt x="2955399" y="4402397"/>
                </a:lnTo>
                <a:lnTo>
                  <a:pt x="2954388" y="4744531"/>
                </a:lnTo>
                <a:lnTo>
                  <a:pt x="3267086" y="5313072"/>
                </a:lnTo>
                <a:lnTo>
                  <a:pt x="3267086" y="5777000"/>
                </a:lnTo>
                <a:lnTo>
                  <a:pt x="3677951" y="6260639"/>
                </a:lnTo>
                <a:lnTo>
                  <a:pt x="4248259" y="6264176"/>
                </a:lnTo>
                <a:lnTo>
                  <a:pt x="4523812" y="5805807"/>
                </a:lnTo>
                <a:lnTo>
                  <a:pt x="4523812" y="5519010"/>
                </a:lnTo>
                <a:lnTo>
                  <a:pt x="5035877" y="4716736"/>
                </a:lnTo>
                <a:lnTo>
                  <a:pt x="5035877" y="4178518"/>
                </a:lnTo>
                <a:lnTo>
                  <a:pt x="5235624" y="3862662"/>
                </a:lnTo>
                <a:lnTo>
                  <a:pt x="5536950" y="3866200"/>
                </a:lnTo>
                <a:lnTo>
                  <a:pt x="6150722" y="2792291"/>
                </a:lnTo>
                <a:lnTo>
                  <a:pt x="5124064" y="2792291"/>
                </a:lnTo>
                <a:lnTo>
                  <a:pt x="4913199" y="2429941"/>
                </a:lnTo>
                <a:lnTo>
                  <a:pt x="4913199" y="1998230"/>
                </a:lnTo>
                <a:lnTo>
                  <a:pt x="4398481" y="1286670"/>
                </a:lnTo>
                <a:lnTo>
                  <a:pt x="3246239" y="1286670"/>
                </a:lnTo>
                <a:lnTo>
                  <a:pt x="3001135" y="1734048"/>
                </a:lnTo>
                <a:lnTo>
                  <a:pt x="2497029" y="1734048"/>
                </a:lnTo>
                <a:lnTo>
                  <a:pt x="2227921" y="1274036"/>
                </a:lnTo>
                <a:lnTo>
                  <a:pt x="1498168" y="1274036"/>
                </a:lnTo>
                <a:lnTo>
                  <a:pt x="985470" y="2182310"/>
                </a:lnTo>
                <a:lnTo>
                  <a:pt x="998104" y="2763485"/>
                </a:lnTo>
                <a:lnTo>
                  <a:pt x="1323436" y="3233478"/>
                </a:lnTo>
                <a:lnTo>
                  <a:pt x="1704231" y="3233478"/>
                </a:lnTo>
                <a:lnTo>
                  <a:pt x="1841439" y="3054072"/>
                </a:lnTo>
                <a:lnTo>
                  <a:pt x="2888059" y="3054072"/>
                </a:lnTo>
                <a:lnTo>
                  <a:pt x="3121791" y="3479213"/>
                </a:lnTo>
                <a:lnTo>
                  <a:pt x="3121791" y="4018947"/>
                </a:lnTo>
                <a:lnTo>
                  <a:pt x="3308400" y="4339225"/>
                </a:lnTo>
                <a:lnTo>
                  <a:pt x="3308400" y="4666958"/>
                </a:lnTo>
                <a:lnTo>
                  <a:pt x="3643332" y="5227159"/>
                </a:lnTo>
                <a:lnTo>
                  <a:pt x="3643332" y="5573716"/>
                </a:lnTo>
                <a:lnTo>
                  <a:pt x="3866074" y="5864303"/>
                </a:lnTo>
                <a:lnTo>
                  <a:pt x="4054577" y="5864303"/>
                </a:lnTo>
                <a:lnTo>
                  <a:pt x="4204672" y="5616293"/>
                </a:lnTo>
                <a:lnTo>
                  <a:pt x="4204672" y="5371063"/>
                </a:lnTo>
                <a:lnTo>
                  <a:pt x="4680603" y="4609724"/>
                </a:lnTo>
                <a:lnTo>
                  <a:pt x="4684646" y="4017179"/>
                </a:lnTo>
                <a:lnTo>
                  <a:pt x="4956281" y="3560957"/>
                </a:lnTo>
                <a:lnTo>
                  <a:pt x="5339856" y="3559441"/>
                </a:lnTo>
                <a:lnTo>
                  <a:pt x="5613009" y="3098544"/>
                </a:lnTo>
                <a:lnTo>
                  <a:pt x="4927349" y="3096017"/>
                </a:lnTo>
                <a:lnTo>
                  <a:pt x="4568411" y="2507768"/>
                </a:lnTo>
                <a:lnTo>
                  <a:pt x="4582687" y="2127225"/>
                </a:lnTo>
                <a:lnTo>
                  <a:pt x="4252934" y="1643207"/>
                </a:lnTo>
                <a:lnTo>
                  <a:pt x="3444344" y="1638786"/>
                </a:lnTo>
                <a:lnTo>
                  <a:pt x="3194438" y="2076941"/>
                </a:lnTo>
                <a:lnTo>
                  <a:pt x="2278710" y="2076941"/>
                </a:lnTo>
                <a:lnTo>
                  <a:pt x="2053568" y="1657105"/>
                </a:lnTo>
                <a:lnTo>
                  <a:pt x="1715602" y="1657105"/>
                </a:lnTo>
                <a:lnTo>
                  <a:pt x="1365381" y="2321286"/>
                </a:lnTo>
                <a:lnTo>
                  <a:pt x="1372331" y="2653694"/>
                </a:lnTo>
                <a:lnTo>
                  <a:pt x="1441818" y="2745670"/>
                </a:lnTo>
                <a:lnTo>
                  <a:pt x="1553125" y="2743775"/>
                </a:lnTo>
                <a:lnTo>
                  <a:pt x="1649399" y="2662411"/>
                </a:lnTo>
                <a:lnTo>
                  <a:pt x="3697281" y="2663801"/>
                </a:lnTo>
                <a:lnTo>
                  <a:pt x="3898038" y="2270370"/>
                </a:lnTo>
                <a:lnTo>
                  <a:pt x="3931141" y="2270370"/>
                </a:lnTo>
                <a:lnTo>
                  <a:pt x="3994312" y="2353504"/>
                </a:lnTo>
                <a:lnTo>
                  <a:pt x="3994312" y="2771317"/>
                </a:lnTo>
                <a:lnTo>
                  <a:pt x="4377887" y="3414653"/>
                </a:lnTo>
                <a:lnTo>
                  <a:pt x="4099303" y="3832466"/>
                </a:lnTo>
                <a:lnTo>
                  <a:pt x="4091595" y="4456471"/>
                </a:lnTo>
                <a:lnTo>
                  <a:pt x="3969297" y="4641815"/>
                </a:lnTo>
                <a:lnTo>
                  <a:pt x="3858620" y="4455966"/>
                </a:lnTo>
                <a:lnTo>
                  <a:pt x="3858620" y="4076939"/>
                </a:lnTo>
                <a:lnTo>
                  <a:pt x="3720781" y="3851165"/>
                </a:lnTo>
                <a:lnTo>
                  <a:pt x="3720781" y="3321665"/>
                </a:lnTo>
                <a:lnTo>
                  <a:pt x="3556536" y="3043712"/>
                </a:lnTo>
                <a:lnTo>
                  <a:pt x="3728487" y="3043712"/>
                </a:lnTo>
                <a:lnTo>
                  <a:pt x="3946176" y="3385973"/>
                </a:lnTo>
                <a:lnTo>
                  <a:pt x="3779276" y="3638658"/>
                </a:lnTo>
                <a:lnTo>
                  <a:pt x="3779276" y="3763104"/>
                </a:lnTo>
                <a:lnTo>
                  <a:pt x="3994058" y="3763104"/>
                </a:lnTo>
                <a:lnTo>
                  <a:pt x="3994058" y="3703345"/>
                </a:lnTo>
                <a:lnTo>
                  <a:pt x="4202144" y="3389005"/>
                </a:lnTo>
                <a:lnTo>
                  <a:pt x="3846365" y="2829562"/>
                </a:lnTo>
                <a:lnTo>
                  <a:pt x="3180036" y="2829562"/>
                </a:lnTo>
                <a:lnTo>
                  <a:pt x="3505368" y="3380540"/>
                </a:lnTo>
                <a:lnTo>
                  <a:pt x="3505368" y="3911178"/>
                </a:lnTo>
                <a:lnTo>
                  <a:pt x="3643206" y="4136952"/>
                </a:lnTo>
                <a:lnTo>
                  <a:pt x="3643206" y="4514083"/>
                </a:lnTo>
                <a:lnTo>
                  <a:pt x="3959062" y="5043836"/>
                </a:lnTo>
                <a:lnTo>
                  <a:pt x="4305619" y="4522043"/>
                </a:lnTo>
                <a:lnTo>
                  <a:pt x="4313199" y="3898291"/>
                </a:lnTo>
                <a:lnTo>
                  <a:pt x="4631708" y="3420464"/>
                </a:lnTo>
                <a:lnTo>
                  <a:pt x="4209093" y="2712442"/>
                </a:lnTo>
                <a:lnTo>
                  <a:pt x="4209093" y="2281616"/>
                </a:lnTo>
                <a:lnTo>
                  <a:pt x="4037899" y="2055968"/>
                </a:lnTo>
                <a:lnTo>
                  <a:pt x="3766642" y="2055968"/>
                </a:lnTo>
                <a:lnTo>
                  <a:pt x="3566390" y="2448766"/>
                </a:lnTo>
                <a:lnTo>
                  <a:pt x="1582816" y="2447629"/>
                </a:lnTo>
                <a:lnTo>
                  <a:pt x="1581300" y="2371823"/>
                </a:lnTo>
                <a:lnTo>
                  <a:pt x="1844598" y="1871382"/>
                </a:lnTo>
                <a:lnTo>
                  <a:pt x="1924951" y="1871382"/>
                </a:lnTo>
                <a:lnTo>
                  <a:pt x="2150220" y="2291216"/>
                </a:lnTo>
                <a:lnTo>
                  <a:pt x="3319265" y="2291216"/>
                </a:lnTo>
                <a:lnTo>
                  <a:pt x="3568665" y="1853820"/>
                </a:lnTo>
                <a:lnTo>
                  <a:pt x="4139353" y="1856852"/>
                </a:lnTo>
                <a:lnTo>
                  <a:pt x="4365758" y="2189259"/>
                </a:lnTo>
                <a:lnTo>
                  <a:pt x="4351733" y="2563864"/>
                </a:lnTo>
                <a:lnTo>
                  <a:pt x="4806566" y="3310294"/>
                </a:lnTo>
                <a:lnTo>
                  <a:pt x="5236761" y="3311936"/>
                </a:lnTo>
                <a:lnTo>
                  <a:pt x="5217179" y="3344912"/>
                </a:lnTo>
                <a:lnTo>
                  <a:pt x="4833982" y="3346301"/>
                </a:lnTo>
                <a:lnTo>
                  <a:pt x="4470243" y="3957166"/>
                </a:lnTo>
                <a:lnTo>
                  <a:pt x="4466200" y="4547185"/>
                </a:lnTo>
                <a:lnTo>
                  <a:pt x="3989889" y="5309408"/>
                </a:lnTo>
                <a:lnTo>
                  <a:pt x="3989889" y="5556786"/>
                </a:lnTo>
                <a:lnTo>
                  <a:pt x="3950345" y="5622106"/>
                </a:lnTo>
                <a:lnTo>
                  <a:pt x="3857736" y="5501448"/>
                </a:lnTo>
                <a:lnTo>
                  <a:pt x="3857736" y="5168410"/>
                </a:lnTo>
                <a:lnTo>
                  <a:pt x="3522802" y="4608082"/>
                </a:lnTo>
                <a:lnTo>
                  <a:pt x="3522802" y="4281108"/>
                </a:lnTo>
                <a:lnTo>
                  <a:pt x="3336195" y="3960830"/>
                </a:lnTo>
                <a:lnTo>
                  <a:pt x="3336195" y="3424002"/>
                </a:lnTo>
                <a:lnTo>
                  <a:pt x="3015158" y="2839290"/>
                </a:lnTo>
                <a:lnTo>
                  <a:pt x="1735312" y="2839290"/>
                </a:lnTo>
                <a:lnTo>
                  <a:pt x="1598231" y="3018316"/>
                </a:lnTo>
                <a:lnTo>
                  <a:pt x="1435880" y="3018316"/>
                </a:lnTo>
                <a:lnTo>
                  <a:pt x="1210865" y="2693869"/>
                </a:lnTo>
                <a:lnTo>
                  <a:pt x="1201263" y="2236638"/>
                </a:lnTo>
                <a:lnTo>
                  <a:pt x="1623246" y="1488944"/>
                </a:lnTo>
                <a:lnTo>
                  <a:pt x="2104483" y="1488944"/>
                </a:lnTo>
                <a:lnTo>
                  <a:pt x="2373593" y="1948955"/>
                </a:lnTo>
                <a:lnTo>
                  <a:pt x="3128235" y="1948955"/>
                </a:lnTo>
                <a:lnTo>
                  <a:pt x="3373339" y="1501578"/>
                </a:lnTo>
                <a:lnTo>
                  <a:pt x="4288437" y="1501578"/>
                </a:lnTo>
                <a:lnTo>
                  <a:pt x="4698165" y="2067717"/>
                </a:lnTo>
                <a:lnTo>
                  <a:pt x="4697532" y="2487932"/>
                </a:lnTo>
                <a:lnTo>
                  <a:pt x="4999743" y="3007199"/>
                </a:lnTo>
                <a:lnTo>
                  <a:pt x="5779529" y="3007199"/>
                </a:lnTo>
                <a:lnTo>
                  <a:pt x="5412124" y="3649776"/>
                </a:lnTo>
                <a:lnTo>
                  <a:pt x="5117999" y="3646618"/>
                </a:lnTo>
                <a:lnTo>
                  <a:pt x="4820842" y="4115347"/>
                </a:lnTo>
                <a:lnTo>
                  <a:pt x="4820842" y="4653691"/>
                </a:lnTo>
                <a:lnTo>
                  <a:pt x="4308777" y="5456344"/>
                </a:lnTo>
                <a:lnTo>
                  <a:pt x="4308777" y="5746173"/>
                </a:lnTo>
                <a:lnTo>
                  <a:pt x="4126971" y="6048637"/>
                </a:lnTo>
                <a:lnTo>
                  <a:pt x="3777634" y="6046490"/>
                </a:lnTo>
                <a:lnTo>
                  <a:pt x="3482119" y="5698668"/>
                </a:lnTo>
                <a:lnTo>
                  <a:pt x="3482119" y="5258366"/>
                </a:lnTo>
                <a:lnTo>
                  <a:pt x="3169549" y="4689826"/>
                </a:lnTo>
                <a:lnTo>
                  <a:pt x="3170560" y="4345543"/>
                </a:lnTo>
                <a:lnTo>
                  <a:pt x="2984458" y="4021474"/>
                </a:lnTo>
                <a:lnTo>
                  <a:pt x="2984458" y="3498544"/>
                </a:lnTo>
                <a:lnTo>
                  <a:pt x="2842701" y="3244975"/>
                </a:lnTo>
                <a:lnTo>
                  <a:pt x="1857863" y="3244975"/>
                </a:lnTo>
                <a:lnTo>
                  <a:pt x="1775615" y="3387615"/>
                </a:lnTo>
                <a:lnTo>
                  <a:pt x="1225520" y="3387615"/>
                </a:lnTo>
                <a:lnTo>
                  <a:pt x="857360" y="2815285"/>
                </a:lnTo>
                <a:lnTo>
                  <a:pt x="857360" y="2118254"/>
                </a:lnTo>
                <a:lnTo>
                  <a:pt x="1444599" y="1131901"/>
                </a:lnTo>
                <a:lnTo>
                  <a:pt x="2327351" y="1131901"/>
                </a:lnTo>
                <a:lnTo>
                  <a:pt x="2561211" y="1518003"/>
                </a:lnTo>
                <a:lnTo>
                  <a:pt x="2943775" y="1515476"/>
                </a:lnTo>
                <a:lnTo>
                  <a:pt x="3154640" y="1131901"/>
                </a:lnTo>
                <a:lnTo>
                  <a:pt x="9701445" y="1131901"/>
                </a:lnTo>
                <a:lnTo>
                  <a:pt x="9701445" y="917119"/>
                </a:lnTo>
                <a:lnTo>
                  <a:pt x="3027541" y="917119"/>
                </a:lnTo>
                <a:lnTo>
                  <a:pt x="2816548" y="1301452"/>
                </a:lnTo>
                <a:lnTo>
                  <a:pt x="2681994" y="1302336"/>
                </a:lnTo>
                <a:lnTo>
                  <a:pt x="2448388" y="917119"/>
                </a:lnTo>
                <a:close/>
                <a:moveTo>
                  <a:pt x="0" y="0"/>
                </a:moveTo>
                <a:lnTo>
                  <a:pt x="11413612" y="0"/>
                </a:lnTo>
                <a:lnTo>
                  <a:pt x="12183186" y="0"/>
                </a:lnTo>
                <a:lnTo>
                  <a:pt x="12196437" y="0"/>
                </a:lnTo>
                <a:lnTo>
                  <a:pt x="12196437" y="6880472"/>
                </a:lnTo>
                <a:lnTo>
                  <a:pt x="12183186" y="6880472"/>
                </a:lnTo>
                <a:lnTo>
                  <a:pt x="12183186" y="6880475"/>
                </a:lnTo>
                <a:lnTo>
                  <a:pt x="0" y="6880475"/>
                </a:lnTo>
                <a:close/>
              </a:path>
            </a:pathLst>
          </a:custGeom>
          <a:solidFill>
            <a:schemeClr val="tx1">
              <a:alpha val="47014"/>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457200" rtl="0" eaLnBrk="1" fontAlgn="auto" latinLnBrk="0" hangingPunct="1">
              <a:lnSpc>
                <a:spcPct val="110000"/>
              </a:lnSpc>
              <a:spcBef>
                <a:spcPts val="92"/>
              </a:spcBef>
              <a:spcAft>
                <a:spcPts val="92"/>
              </a:spcAft>
              <a:buClrTx/>
              <a:buSzTx/>
              <a:buFontTx/>
              <a:buNone/>
              <a:tabLst/>
              <a:defRPr/>
            </a:pPr>
            <a:endParaRPr kumimoji="0" lang="en-US" sz="923" b="0" i="0" u="none" strike="noStrike" kern="1200" cap="none" spc="0" normalizeH="0" baseline="0" noProof="0" dirty="0">
              <a:ln>
                <a:noFill/>
              </a:ln>
              <a:solidFill>
                <a:srgbClr val="000000"/>
              </a:solidFill>
              <a:effectLst/>
              <a:uLnTx/>
              <a:uFillTx/>
              <a:latin typeface="Tahoma"/>
              <a:ea typeface="+mn-ea"/>
              <a:cs typeface="+mn-cs"/>
            </a:endParaRPr>
          </a:p>
        </p:txBody>
      </p:sp>
      <p:sp>
        <p:nvSpPr>
          <p:cNvPr id="521" name="Title 520">
            <a:extLst>
              <a:ext uri="{FF2B5EF4-FFF2-40B4-BE49-F238E27FC236}">
                <a16:creationId xmlns:a16="http://schemas.microsoft.com/office/drawing/2014/main" id="{DD3D5241-53C0-7612-D85F-F4D957CE0428}"/>
              </a:ext>
            </a:extLst>
          </p:cNvPr>
          <p:cNvSpPr>
            <a:spLocks noGrp="1"/>
          </p:cNvSpPr>
          <p:nvPr>
            <p:ph type="title"/>
          </p:nvPr>
        </p:nvSpPr>
        <p:spPr>
          <a:xfrm>
            <a:off x="674913" y="1794278"/>
            <a:ext cx="11089485" cy="3196579"/>
          </a:xfrm>
        </p:spPr>
        <p:txBody>
          <a:bodyPr/>
          <a:lstStyle/>
          <a:p>
            <a:pPr algn="l">
              <a:tabLst>
                <a:tab pos="4787900" algn="l"/>
              </a:tabLst>
            </a:pPr>
            <a:r>
              <a:rPr lang="en-US" dirty="0">
                <a:solidFill>
                  <a:schemeClr val="bg1"/>
                </a:solidFill>
              </a:rPr>
              <a:t>COMPULSORY BREIFING SESSION</a:t>
            </a:r>
            <a:br>
              <a:rPr lang="en-US" dirty="0">
                <a:solidFill>
                  <a:schemeClr val="bg1"/>
                </a:solidFill>
              </a:rPr>
            </a:br>
            <a:r>
              <a:rPr lang="en-US" sz="2400" b="1" dirty="0">
                <a:solidFill>
                  <a:schemeClr val="bg1"/>
                </a:solidFill>
                <a:effectLst/>
                <a:latin typeface="Tahoma" panose="020B0604030504040204" pitchFamily="34" charset="0"/>
                <a:ea typeface="Batang" panose="02030600000101010101" pitchFamily="18" charset="-127"/>
                <a:cs typeface="Tahoma" panose="020B0604030504040204" pitchFamily="34" charset="0"/>
              </a:rPr>
              <a:t>FOR THE SUPPLY AND INSTALLATION OF BULK ELECTRICAL SUPPLY INCLUDING TRANSFORMERS, SWITCHGEARS, MCC AND SUB-STATION BUILDINGS AT SALDANHA BULK TERMINAL FOR TRANSNET SOC LTD (REG.NO.1990/000900/30) OPERATING AS TRANSNET PORT TERMINALS, (HEREINAFTER REFERRED TO AS “TPT”)</a:t>
            </a:r>
            <a:br>
              <a:rPr lang="en-ZA" sz="1800" dirty="0">
                <a:effectLst/>
                <a:latin typeface="Tahoma" panose="020B0604030504040204" pitchFamily="34" charset="0"/>
                <a:ea typeface="Batang" panose="02030600000101010101" pitchFamily="18" charset="-127"/>
                <a:cs typeface="Times New Roman" panose="02020603050405020304" pitchFamily="18" charset="0"/>
              </a:rPr>
            </a:br>
            <a:endParaRPr lang="en-US" dirty="0">
              <a:solidFill>
                <a:schemeClr val="bg1"/>
              </a:solidFill>
            </a:endParaRPr>
          </a:p>
        </p:txBody>
      </p:sp>
      <p:sp>
        <p:nvSpPr>
          <p:cNvPr id="522" name="Text Placeholder 521">
            <a:extLst>
              <a:ext uri="{FF2B5EF4-FFF2-40B4-BE49-F238E27FC236}">
                <a16:creationId xmlns:a16="http://schemas.microsoft.com/office/drawing/2014/main" id="{6864D623-7115-AB1B-0C2E-4786ED32231E}"/>
              </a:ext>
            </a:extLst>
          </p:cNvPr>
          <p:cNvSpPr>
            <a:spLocks noGrp="1"/>
          </p:cNvSpPr>
          <p:nvPr>
            <p:ph type="body" sz="quarter" idx="13"/>
          </p:nvPr>
        </p:nvSpPr>
        <p:spPr>
          <a:xfrm>
            <a:off x="2536786" y="4990857"/>
            <a:ext cx="5388014" cy="622460"/>
          </a:xfrm>
        </p:spPr>
        <p:txBody>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2800" b="1" u="none" strike="noStrike" kern="1200" cap="none" spc="0" normalizeH="0" baseline="0" noProof="0" dirty="0">
                <a:ln>
                  <a:noFill/>
                </a:ln>
                <a:solidFill>
                  <a:srgbClr val="FFFFFF"/>
                </a:solidFill>
                <a:effectLst/>
                <a:uLnTx/>
                <a:uFillTx/>
                <a:latin typeface="+mj-lt"/>
              </a:rPr>
              <a:t>Presented By: </a:t>
            </a:r>
            <a:r>
              <a:rPr lang="en-US" sz="2800" b="1" dirty="0">
                <a:solidFill>
                  <a:srgbClr val="FFFFFF"/>
                </a:solidFill>
                <a:latin typeface="+mj-lt"/>
              </a:rPr>
              <a:t>Hlengiwe Zulu</a:t>
            </a:r>
            <a:endParaRPr kumimoji="0" lang="en-US" sz="2800" b="1" u="none" strike="noStrike" kern="1200" cap="none" spc="0" normalizeH="0" baseline="0" noProof="0" dirty="0">
              <a:ln>
                <a:noFill/>
              </a:ln>
              <a:solidFill>
                <a:srgbClr val="FFFFFF"/>
              </a:solidFill>
              <a:effectLst/>
              <a:uLnTx/>
              <a:uFillTx/>
              <a:latin typeface="+mj-lt"/>
            </a:endParaRPr>
          </a:p>
        </p:txBody>
      </p:sp>
      <p:pic>
        <p:nvPicPr>
          <p:cNvPr id="3" name="Picture 2">
            <a:extLst>
              <a:ext uri="{FF2B5EF4-FFF2-40B4-BE49-F238E27FC236}">
                <a16:creationId xmlns:a16="http://schemas.microsoft.com/office/drawing/2014/main" id="{03B23AF7-3458-051D-CD8B-A53B0977D5F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Tree>
    <p:extLst>
      <p:ext uri="{BB962C8B-B14F-4D97-AF65-F5344CB8AC3E}">
        <p14:creationId xmlns:p14="http://schemas.microsoft.com/office/powerpoint/2010/main" val="30796659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5">
            <a:extLst>
              <a:ext uri="{FF2B5EF4-FFF2-40B4-BE49-F238E27FC236}">
                <a16:creationId xmlns:a16="http://schemas.microsoft.com/office/drawing/2014/main" id="{4347DF06-954A-386D-830B-2A918277F126}"/>
              </a:ext>
            </a:extLst>
          </p:cNvPr>
          <p:cNvSpPr txBox="1">
            <a:spLocks/>
          </p:cNvSpPr>
          <p:nvPr/>
        </p:nvSpPr>
        <p:spPr>
          <a:xfrm>
            <a:off x="283474" y="296088"/>
            <a:ext cx="10079725" cy="369332"/>
          </a:xfrm>
          <a:prstGeom prst="rect">
            <a:avLst/>
          </a:prstGeom>
        </p:spPr>
        <p:txBody>
          <a:bodyPr/>
          <a:lstStyle>
            <a:lvl1pPr algn="l" defTabSz="779173" rtl="0" eaLnBrk="1" latinLnBrk="0" hangingPunct="1">
              <a:spcBef>
                <a:spcPct val="0"/>
              </a:spcBef>
              <a:buNone/>
              <a:defRPr sz="2800" b="1" i="0" kern="1200" cap="none" spc="0" baseline="0">
                <a:solidFill>
                  <a:schemeClr val="tx1"/>
                </a:solidFill>
                <a:latin typeface="Apex New Bold" panose="02010600040501010103" pitchFamily="2" charset="77"/>
                <a:ea typeface="Apex New Bold" panose="02010600040501010103" pitchFamily="2" charset="77"/>
                <a:cs typeface="+mj-cs"/>
              </a:defRPr>
            </a:lvl1pPr>
          </a:lstStyle>
          <a:p>
            <a:r>
              <a:rPr lang="en-ZA" sz="1800" dirty="0">
                <a:latin typeface="+mj-lt"/>
              </a:rPr>
              <a:t>Evaluation Methodology</a:t>
            </a:r>
            <a:endParaRPr lang="en-US" sz="1800" dirty="0">
              <a:latin typeface="+mj-lt"/>
            </a:endParaRPr>
          </a:p>
        </p:txBody>
      </p:sp>
      <p:sp>
        <p:nvSpPr>
          <p:cNvPr id="4" name="TextBox 3">
            <a:extLst>
              <a:ext uri="{FF2B5EF4-FFF2-40B4-BE49-F238E27FC236}">
                <a16:creationId xmlns:a16="http://schemas.microsoft.com/office/drawing/2014/main" id="{F2A95F02-2827-EDAE-F1BE-163D01367E59}"/>
              </a:ext>
            </a:extLst>
          </p:cNvPr>
          <p:cNvSpPr txBox="1"/>
          <p:nvPr/>
        </p:nvSpPr>
        <p:spPr>
          <a:xfrm>
            <a:off x="620486" y="953477"/>
            <a:ext cx="9818914" cy="646331"/>
          </a:xfrm>
          <a:prstGeom prst="rect">
            <a:avLst/>
          </a:prstGeom>
          <a:noFill/>
        </p:spPr>
        <p:txBody>
          <a:bodyPr wrap="square">
            <a:spAutoFit/>
          </a:bodyPr>
          <a:lstStyle/>
          <a:p>
            <a:pPr algn="l"/>
            <a:r>
              <a:rPr lang="en-US" sz="1800" b="0" i="0" u="none" strike="noStrike" baseline="0" dirty="0">
                <a:latin typeface="Tahoma" panose="020B0604030504040204" pitchFamily="34" charset="0"/>
              </a:rPr>
              <a:t>Only those tenderers who satisfy the following eligibility criteria are eligible to submit</a:t>
            </a:r>
          </a:p>
          <a:p>
            <a:pPr algn="l"/>
            <a:r>
              <a:rPr lang="en-ZA" sz="1800" b="0" i="0" u="none" strike="noStrike" baseline="0" dirty="0">
                <a:latin typeface="Tahoma" panose="020B0604030504040204" pitchFamily="34" charset="0"/>
              </a:rPr>
              <a:t>tenders:</a:t>
            </a:r>
            <a:endParaRPr lang="en-ZA" dirty="0"/>
          </a:p>
        </p:txBody>
      </p:sp>
      <p:sp>
        <p:nvSpPr>
          <p:cNvPr id="6" name="TextBox 5">
            <a:extLst>
              <a:ext uri="{FF2B5EF4-FFF2-40B4-BE49-F238E27FC236}">
                <a16:creationId xmlns:a16="http://schemas.microsoft.com/office/drawing/2014/main" id="{DF6E3B4E-002F-DE57-7217-5C9B33FEA434}"/>
              </a:ext>
            </a:extLst>
          </p:cNvPr>
          <p:cNvSpPr txBox="1"/>
          <p:nvPr/>
        </p:nvSpPr>
        <p:spPr>
          <a:xfrm>
            <a:off x="283474" y="1735408"/>
            <a:ext cx="11081212" cy="1697901"/>
          </a:xfrm>
          <a:prstGeom prst="rect">
            <a:avLst/>
          </a:prstGeom>
          <a:noFill/>
        </p:spPr>
        <p:txBody>
          <a:bodyPr wrap="square">
            <a:spAutoFit/>
          </a:bodyPr>
          <a:lstStyle/>
          <a:p>
            <a:pPr algn="just">
              <a:lnSpc>
                <a:spcPct val="150000"/>
              </a:lnSpc>
            </a:pPr>
            <a:r>
              <a:rPr lang="en-US" sz="1800" b="1" i="0" u="none" strike="noStrike" baseline="0" dirty="0"/>
              <a:t>Stage One - Eligibility with regards to attendance at the compulsory</a:t>
            </a:r>
          </a:p>
          <a:p>
            <a:pPr algn="just">
              <a:lnSpc>
                <a:spcPct val="150000"/>
              </a:lnSpc>
            </a:pPr>
            <a:r>
              <a:rPr lang="en-ZA" sz="1800" b="1" i="0" u="none" strike="noStrike" baseline="0" dirty="0"/>
              <a:t>clarification meeting:</a:t>
            </a:r>
          </a:p>
          <a:p>
            <a:pPr algn="just">
              <a:lnSpc>
                <a:spcPct val="150000"/>
              </a:lnSpc>
            </a:pPr>
            <a:r>
              <a:rPr lang="en-US" sz="1800" b="0" i="0" u="none" strike="noStrike" baseline="0" dirty="0"/>
              <a:t>An </a:t>
            </a:r>
            <a:r>
              <a:rPr lang="en-US" sz="1800" b="0" i="0" u="none" strike="noStrike" baseline="0" dirty="0" err="1"/>
              <a:t>authorised</a:t>
            </a:r>
            <a:r>
              <a:rPr lang="en-US" sz="1800" b="0" i="0" u="none" strike="noStrike" baseline="0" dirty="0"/>
              <a:t> representative of the tendering entity or a representative of a tendering entity that intends to form a Joint Venture (JV) must attend the compulsory clarification meeting in terms C2.7</a:t>
            </a:r>
            <a:endParaRPr lang="en-ZA" dirty="0"/>
          </a:p>
        </p:txBody>
      </p:sp>
    </p:spTree>
    <p:extLst>
      <p:ext uri="{BB962C8B-B14F-4D97-AF65-F5344CB8AC3E}">
        <p14:creationId xmlns:p14="http://schemas.microsoft.com/office/powerpoint/2010/main" val="38945443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FF66F22-4844-6143-1CAD-B61C665E2610}"/>
              </a:ext>
            </a:extLst>
          </p:cNvPr>
          <p:cNvSpPr txBox="1"/>
          <p:nvPr/>
        </p:nvSpPr>
        <p:spPr>
          <a:xfrm>
            <a:off x="631372" y="479363"/>
            <a:ext cx="6096000" cy="369332"/>
          </a:xfrm>
          <a:prstGeom prst="rect">
            <a:avLst/>
          </a:prstGeom>
          <a:noFill/>
        </p:spPr>
        <p:txBody>
          <a:bodyPr wrap="square">
            <a:spAutoFit/>
          </a:bodyPr>
          <a:lstStyle/>
          <a:p>
            <a:r>
              <a:rPr lang="en-ZA" sz="1800" b="1" dirty="0">
                <a:latin typeface="+mj-lt"/>
              </a:rPr>
              <a:t>Evaluation Methodology</a:t>
            </a:r>
            <a:endParaRPr lang="en-US" sz="1800" b="1" dirty="0">
              <a:latin typeface="+mj-lt"/>
            </a:endParaRPr>
          </a:p>
        </p:txBody>
      </p:sp>
      <p:sp>
        <p:nvSpPr>
          <p:cNvPr id="7" name="TextBox 6">
            <a:extLst>
              <a:ext uri="{FF2B5EF4-FFF2-40B4-BE49-F238E27FC236}">
                <a16:creationId xmlns:a16="http://schemas.microsoft.com/office/drawing/2014/main" id="{B6BC1D09-C38A-64AA-A2C1-CD90C530CE35}"/>
              </a:ext>
            </a:extLst>
          </p:cNvPr>
          <p:cNvSpPr txBox="1"/>
          <p:nvPr/>
        </p:nvSpPr>
        <p:spPr>
          <a:xfrm>
            <a:off x="272142" y="1115437"/>
            <a:ext cx="11386458" cy="1975605"/>
          </a:xfrm>
          <a:prstGeom prst="rect">
            <a:avLst/>
          </a:prstGeom>
          <a:noFill/>
        </p:spPr>
        <p:txBody>
          <a:bodyPr wrap="square">
            <a:spAutoFit/>
          </a:bodyPr>
          <a:lstStyle/>
          <a:p>
            <a:pPr marL="342900" lvl="0" indent="-342900" algn="just">
              <a:lnSpc>
                <a:spcPct val="115000"/>
              </a:lnSpc>
              <a:buFont typeface="+mj-lt"/>
              <a:buAutoNum type="arabicPeriod"/>
              <a:tabLst>
                <a:tab pos="226695" algn="l"/>
              </a:tabLst>
            </a:pPr>
            <a:r>
              <a:rPr lang="en-GB" sz="1800" b="1" dirty="0">
                <a:effectLst/>
                <a:latin typeface="Tahoma" panose="020B0604030504040204" pitchFamily="34" charset="0"/>
                <a:ea typeface="Times New Roman" panose="02020603050405020304" pitchFamily="18" charset="0"/>
                <a:cs typeface="Times New Roman" panose="02020603050405020304" pitchFamily="18" charset="0"/>
              </a:rPr>
              <a:t>Stage Two - Eligibility in terms of the Construction Industry Development Board:</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buFont typeface="+mj-lt"/>
              <a:buAutoNum type="alphaLcParenR"/>
              <a:tabLst>
                <a:tab pos="226695" algn="l"/>
              </a:tabLst>
            </a:pPr>
            <a:r>
              <a:rPr lang="en-GB" sz="1800" dirty="0">
                <a:effectLst/>
                <a:latin typeface="Tahoma" panose="020B0604030504040204" pitchFamily="34" charset="0"/>
                <a:ea typeface="Times New Roman" panose="02020603050405020304" pitchFamily="18" charset="0"/>
                <a:cs typeface="Times New Roman" panose="02020603050405020304" pitchFamily="18" charset="0"/>
              </a:rPr>
              <a:t>Only those tenderers who are registered with the CIDB, or are capable of being so prior to the evaluation of submissions, in a contractor grading designation equal to or higher than a contractor grading designation determined in accordance with the sum tendered or a value determined in accordance with Regulation 25 (1B) or 25(7A) of the Construction Industry Development Regulations, designation of </a:t>
            </a:r>
            <a:r>
              <a:rPr lang="en-GB" sz="1800" b="1" dirty="0">
                <a:effectLst/>
                <a:latin typeface="Tahoma" panose="020B0604030504040204" pitchFamily="34" charset="0"/>
                <a:ea typeface="Times New Roman" panose="02020603050405020304" pitchFamily="18" charset="0"/>
                <a:cs typeface="Times New Roman" panose="02020603050405020304" pitchFamily="18" charset="0"/>
              </a:rPr>
              <a:t>9 EP </a:t>
            </a:r>
            <a:r>
              <a:rPr lang="en-GB" sz="1800" dirty="0">
                <a:effectLst/>
                <a:latin typeface="Tahoma" panose="020B0604030504040204" pitchFamily="34" charset="0"/>
                <a:ea typeface="Times New Roman" panose="02020603050405020304" pitchFamily="18" charset="0"/>
                <a:cs typeface="Times New Roman" panose="02020603050405020304" pitchFamily="18" charset="0"/>
              </a:rPr>
              <a:t>class of construction work, are eligible to have their tenders evaluated.</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579573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2DF051C-C5C1-C7CA-D147-F9D4A6233C50}"/>
              </a:ext>
            </a:extLst>
          </p:cNvPr>
          <p:cNvSpPr txBox="1"/>
          <p:nvPr/>
        </p:nvSpPr>
        <p:spPr>
          <a:xfrm>
            <a:off x="228601" y="1618261"/>
            <a:ext cx="11103430" cy="3249800"/>
          </a:xfrm>
          <a:prstGeom prst="rect">
            <a:avLst/>
          </a:prstGeom>
          <a:noFill/>
        </p:spPr>
        <p:txBody>
          <a:bodyPr wrap="square">
            <a:spAutoFit/>
          </a:bodyPr>
          <a:lstStyle/>
          <a:p>
            <a:pPr marL="342900" lvl="0" indent="-342900">
              <a:lnSpc>
                <a:spcPct val="115000"/>
              </a:lnSpc>
              <a:buFont typeface="+mj-lt"/>
              <a:buAutoNum type="alphaLcParenR"/>
              <a:tabLst>
                <a:tab pos="226695" algn="l"/>
              </a:tabLst>
            </a:pPr>
            <a:r>
              <a:rPr lang="en-GB" sz="1800" dirty="0">
                <a:effectLst/>
                <a:latin typeface="Tahoma" panose="020B0604030504040204" pitchFamily="34" charset="0"/>
                <a:ea typeface="Times New Roman" panose="02020603050405020304" pitchFamily="18" charset="0"/>
                <a:cs typeface="Times New Roman" panose="02020603050405020304" pitchFamily="18" charset="0"/>
              </a:rPr>
              <a:t>Joint Venture (JV)</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228600" algn="just">
              <a:lnSpc>
                <a:spcPct val="115000"/>
              </a:lnSpc>
              <a:tabLst>
                <a:tab pos="226695" algn="l"/>
              </a:tabLst>
            </a:pPr>
            <a:r>
              <a:rPr lang="en-GB" sz="1800" dirty="0">
                <a:effectLst/>
                <a:latin typeface="Tahoma" panose="020B0604030504040204" pitchFamily="34" charset="0"/>
                <a:ea typeface="Times New Roman" panose="02020603050405020304" pitchFamily="18" charset="0"/>
                <a:cs typeface="Times New Roman" panose="02020603050405020304" pitchFamily="18" charset="0"/>
              </a:rPr>
              <a:t>Joint ventures are eligible to submit tenders subject to the following: </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buFont typeface="+mj-lt"/>
              <a:buAutoNum type="arabicPeriod"/>
              <a:tabLst>
                <a:tab pos="226695" algn="l"/>
              </a:tabLst>
            </a:pPr>
            <a:r>
              <a:rPr lang="en-GB" sz="1800" dirty="0">
                <a:effectLst/>
                <a:latin typeface="Tahoma" panose="020B0604030504040204" pitchFamily="34" charset="0"/>
                <a:ea typeface="Times New Roman" panose="02020603050405020304" pitchFamily="18" charset="0"/>
                <a:cs typeface="Times New Roman" panose="02020603050405020304" pitchFamily="18" charset="0"/>
              </a:rPr>
              <a:t>every member of the joint venture is registered with the CIDB;</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buFont typeface="+mj-lt"/>
              <a:buAutoNum type="arabicPeriod"/>
              <a:tabLst>
                <a:tab pos="226695" algn="l"/>
              </a:tabLst>
            </a:pPr>
            <a:r>
              <a:rPr lang="en-ZA" sz="1800" dirty="0">
                <a:effectLst/>
                <a:latin typeface="Tahoma" panose="020B0604030504040204" pitchFamily="34" charset="0"/>
                <a:ea typeface="Times New Roman" panose="02020603050405020304" pitchFamily="18" charset="0"/>
                <a:cs typeface="Times New Roman" panose="02020603050405020304" pitchFamily="18" charset="0"/>
              </a:rPr>
              <a:t>the lead partner has a contractor grading designation of not lower than one level below the required class of construction works under consideration and possesses the required recognition status</a:t>
            </a:r>
            <a:r>
              <a:rPr lang="en-GB" sz="1800" dirty="0">
                <a:effectLst/>
                <a:latin typeface="Tahoma" panose="020B0604030504040204" pitchFamily="34" charset="0"/>
                <a:ea typeface="Times New Roman" panose="02020603050405020304" pitchFamily="18" charset="0"/>
                <a:cs typeface="Times New Roman" panose="02020603050405020304" pitchFamily="18" charset="0"/>
              </a:rPr>
              <a:t>; and</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15000"/>
              </a:lnSpc>
              <a:buFont typeface="+mj-lt"/>
              <a:buAutoNum type="arabicPeriod"/>
              <a:tabLst>
                <a:tab pos="226695" algn="l"/>
              </a:tabLst>
            </a:pPr>
            <a:r>
              <a:rPr lang="en-GB" sz="1800" dirty="0">
                <a:effectLst/>
                <a:latin typeface="Tahoma" panose="020B0604030504040204" pitchFamily="34" charset="0"/>
                <a:ea typeface="Times New Roman" panose="02020603050405020304" pitchFamily="18" charset="0"/>
                <a:cs typeface="Times New Roman" panose="02020603050405020304" pitchFamily="18" charset="0"/>
              </a:rPr>
              <a:t>the combined Contractor grading designation calculated in accordance with the Construction Industry Development Regulations is equal to or higher than a Contractor grading designation determined in accordance with the sum tendered for a </a:t>
            </a:r>
            <a:r>
              <a:rPr lang="en-GB" sz="1800" b="1" dirty="0">
                <a:effectLst/>
                <a:latin typeface="Tahoma" panose="020B0604030504040204" pitchFamily="34" charset="0"/>
                <a:ea typeface="Times New Roman" panose="02020603050405020304" pitchFamily="18" charset="0"/>
                <a:cs typeface="Times New Roman" panose="02020603050405020304" pitchFamily="18" charset="0"/>
              </a:rPr>
              <a:t>9 EP</a:t>
            </a:r>
            <a:r>
              <a:rPr lang="en-GB" sz="1800" dirty="0">
                <a:effectLst/>
                <a:latin typeface="Tahoma" panose="020B0604030504040204" pitchFamily="34" charset="0"/>
                <a:ea typeface="Times New Roman" panose="02020603050405020304" pitchFamily="18" charset="0"/>
                <a:cs typeface="Times New Roman" panose="02020603050405020304" pitchFamily="18" charset="0"/>
              </a:rPr>
              <a:t> class of construction work or a value determined in accordance with Regulation 25(1B) or 25(7A) of the Construction Industry Development Regulations</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457200" algn="just">
              <a:lnSpc>
                <a:spcPct val="115000"/>
              </a:lnSpc>
              <a:tabLst>
                <a:tab pos="226695" algn="l"/>
              </a:tabLst>
            </a:pPr>
            <a:r>
              <a:rPr lang="en-GB" sz="1800" dirty="0">
                <a:effectLst/>
                <a:latin typeface="Tahoma" panose="020B0604030504040204" pitchFamily="34" charset="0"/>
                <a:ea typeface="Times New Roman" panose="02020603050405020304" pitchFamily="18" charset="0"/>
                <a:cs typeface="Times New Roman" panose="02020603050405020304" pitchFamily="18" charset="0"/>
              </a:rPr>
              <a:t>The tenderer shall provide a certified copy of its signed joint venture agreement</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TextBox 3">
            <a:extLst>
              <a:ext uri="{FF2B5EF4-FFF2-40B4-BE49-F238E27FC236}">
                <a16:creationId xmlns:a16="http://schemas.microsoft.com/office/drawing/2014/main" id="{1590715A-9493-D54C-1E76-60C5A4FA8F7F}"/>
              </a:ext>
            </a:extLst>
          </p:cNvPr>
          <p:cNvSpPr txBox="1"/>
          <p:nvPr/>
        </p:nvSpPr>
        <p:spPr>
          <a:xfrm>
            <a:off x="631372" y="479363"/>
            <a:ext cx="6096000" cy="369332"/>
          </a:xfrm>
          <a:prstGeom prst="rect">
            <a:avLst/>
          </a:prstGeom>
          <a:noFill/>
        </p:spPr>
        <p:txBody>
          <a:bodyPr wrap="square">
            <a:spAutoFit/>
          </a:bodyPr>
          <a:lstStyle/>
          <a:p>
            <a:r>
              <a:rPr lang="en-ZA" sz="1800" b="1" dirty="0">
                <a:latin typeface="+mj-lt"/>
              </a:rPr>
              <a:t>Evaluation Methodology</a:t>
            </a:r>
            <a:endParaRPr lang="en-US" sz="1800" b="1" dirty="0">
              <a:latin typeface="+mj-lt"/>
            </a:endParaRPr>
          </a:p>
        </p:txBody>
      </p:sp>
      <p:sp>
        <p:nvSpPr>
          <p:cNvPr id="6" name="TextBox 5">
            <a:extLst>
              <a:ext uri="{FF2B5EF4-FFF2-40B4-BE49-F238E27FC236}">
                <a16:creationId xmlns:a16="http://schemas.microsoft.com/office/drawing/2014/main" id="{33F0BBB6-C425-87DB-5383-D1D75731B64E}"/>
              </a:ext>
            </a:extLst>
          </p:cNvPr>
          <p:cNvSpPr txBox="1"/>
          <p:nvPr/>
        </p:nvSpPr>
        <p:spPr>
          <a:xfrm>
            <a:off x="228601" y="882773"/>
            <a:ext cx="9633857" cy="382862"/>
          </a:xfrm>
          <a:prstGeom prst="rect">
            <a:avLst/>
          </a:prstGeom>
          <a:noFill/>
        </p:spPr>
        <p:txBody>
          <a:bodyPr wrap="square">
            <a:spAutoFit/>
          </a:bodyPr>
          <a:lstStyle/>
          <a:p>
            <a:pPr lvl="0" algn="just">
              <a:lnSpc>
                <a:spcPct val="115000"/>
              </a:lnSpc>
              <a:tabLst>
                <a:tab pos="226695" algn="l"/>
              </a:tabLst>
            </a:pPr>
            <a:r>
              <a:rPr lang="en-GB" sz="1800" b="1" dirty="0">
                <a:effectLst/>
                <a:latin typeface="Tahoma" panose="020B0604030504040204" pitchFamily="34" charset="0"/>
                <a:ea typeface="Times New Roman" panose="02020603050405020304" pitchFamily="18" charset="0"/>
                <a:cs typeface="Times New Roman" panose="02020603050405020304" pitchFamily="18" charset="0"/>
              </a:rPr>
              <a:t>Stage Two - Eligibility in terms of the Construction Industry Development Board:</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510578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2F51235-340E-AA71-6E65-C3BA1B84E889}"/>
              </a:ext>
            </a:extLst>
          </p:cNvPr>
          <p:cNvSpPr txBox="1"/>
          <p:nvPr/>
        </p:nvSpPr>
        <p:spPr>
          <a:xfrm>
            <a:off x="337457" y="1064438"/>
            <a:ext cx="9546772" cy="382862"/>
          </a:xfrm>
          <a:prstGeom prst="rect">
            <a:avLst/>
          </a:prstGeom>
          <a:noFill/>
        </p:spPr>
        <p:txBody>
          <a:bodyPr wrap="square">
            <a:spAutoFit/>
          </a:bodyPr>
          <a:lstStyle/>
          <a:p>
            <a:pPr lvl="0" algn="just">
              <a:lnSpc>
                <a:spcPct val="115000"/>
              </a:lnSpc>
              <a:tabLst>
                <a:tab pos="226695" algn="l"/>
              </a:tabLst>
            </a:pPr>
            <a:r>
              <a:rPr lang="en-GB" sz="1800" b="1" dirty="0">
                <a:effectLst/>
                <a:latin typeface="Tahoma" panose="020B0604030504040204" pitchFamily="34" charset="0"/>
                <a:ea typeface="Times New Roman" panose="02020603050405020304" pitchFamily="18" charset="0"/>
                <a:cs typeface="Times New Roman" panose="02020603050405020304" pitchFamily="18" charset="0"/>
              </a:rPr>
              <a:t>Stage Two - Eligibility in terms of the Construction Industry Development Board:</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TextBox 3">
            <a:extLst>
              <a:ext uri="{FF2B5EF4-FFF2-40B4-BE49-F238E27FC236}">
                <a16:creationId xmlns:a16="http://schemas.microsoft.com/office/drawing/2014/main" id="{EE095F22-F293-7833-BECC-32E806DF4FC7}"/>
              </a:ext>
            </a:extLst>
          </p:cNvPr>
          <p:cNvSpPr txBox="1"/>
          <p:nvPr/>
        </p:nvSpPr>
        <p:spPr>
          <a:xfrm>
            <a:off x="631372" y="479363"/>
            <a:ext cx="6096000" cy="369332"/>
          </a:xfrm>
          <a:prstGeom prst="rect">
            <a:avLst/>
          </a:prstGeom>
          <a:noFill/>
        </p:spPr>
        <p:txBody>
          <a:bodyPr wrap="square">
            <a:spAutoFit/>
          </a:bodyPr>
          <a:lstStyle/>
          <a:p>
            <a:r>
              <a:rPr lang="en-ZA" sz="1800" b="1" dirty="0">
                <a:latin typeface="+mj-lt"/>
              </a:rPr>
              <a:t>Evaluation Methodology</a:t>
            </a:r>
            <a:endParaRPr lang="en-US" sz="1800" b="1" dirty="0">
              <a:latin typeface="+mj-lt"/>
            </a:endParaRPr>
          </a:p>
        </p:txBody>
      </p:sp>
      <p:sp>
        <p:nvSpPr>
          <p:cNvPr id="6" name="TextBox 5">
            <a:extLst>
              <a:ext uri="{FF2B5EF4-FFF2-40B4-BE49-F238E27FC236}">
                <a16:creationId xmlns:a16="http://schemas.microsoft.com/office/drawing/2014/main" id="{BA01D4D2-8F84-8364-EA9F-FD937C7189F7}"/>
              </a:ext>
            </a:extLst>
          </p:cNvPr>
          <p:cNvSpPr txBox="1"/>
          <p:nvPr/>
        </p:nvSpPr>
        <p:spPr>
          <a:xfrm>
            <a:off x="337457" y="1880190"/>
            <a:ext cx="10918372" cy="873252"/>
          </a:xfrm>
          <a:prstGeom prst="rect">
            <a:avLst/>
          </a:prstGeom>
          <a:noFill/>
        </p:spPr>
        <p:txBody>
          <a:bodyPr wrap="square">
            <a:spAutoFit/>
          </a:bodyPr>
          <a:lstStyle/>
          <a:p>
            <a:pPr marL="342900" lvl="0" indent="-342900" algn="just">
              <a:lnSpc>
                <a:spcPct val="150000"/>
              </a:lnSpc>
              <a:buFont typeface="Symbol" panose="05050102010706020507" pitchFamily="18" charset="2"/>
              <a:buChar char=""/>
            </a:pPr>
            <a:r>
              <a:rPr lang="en-US" sz="1800" dirty="0">
                <a:effectLst/>
                <a:latin typeface="Arial" panose="020B0604020202020204" pitchFamily="34" charset="0"/>
                <a:ea typeface="Times New Roman" panose="02020603050405020304" pitchFamily="18" charset="0"/>
              </a:rPr>
              <a:t>It is estimated that tenderers should have a CIDB contractor grading of 9EP. 8EP potentially emerging enterprises who satisfy criteria stated in the Tender Data may submit tender offers.</a:t>
            </a:r>
            <a:endParaRPr lang="en-ZA" sz="20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8676779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C2900DD-3322-6ABB-10B0-9563B8D0AA2C}"/>
              </a:ext>
            </a:extLst>
          </p:cNvPr>
          <p:cNvSpPr txBox="1"/>
          <p:nvPr/>
        </p:nvSpPr>
        <p:spPr>
          <a:xfrm>
            <a:off x="272143" y="392277"/>
            <a:ext cx="6096000" cy="369332"/>
          </a:xfrm>
          <a:prstGeom prst="rect">
            <a:avLst/>
          </a:prstGeom>
          <a:noFill/>
        </p:spPr>
        <p:txBody>
          <a:bodyPr wrap="square">
            <a:spAutoFit/>
          </a:bodyPr>
          <a:lstStyle/>
          <a:p>
            <a:r>
              <a:rPr lang="en-ZA" sz="1800" b="1" dirty="0">
                <a:latin typeface="+mj-lt"/>
              </a:rPr>
              <a:t>Evaluation Methodology</a:t>
            </a:r>
            <a:endParaRPr lang="en-US" sz="1800" b="1" dirty="0">
              <a:latin typeface="+mj-lt"/>
            </a:endParaRPr>
          </a:p>
        </p:txBody>
      </p:sp>
      <p:sp>
        <p:nvSpPr>
          <p:cNvPr id="5" name="TextBox 4">
            <a:extLst>
              <a:ext uri="{FF2B5EF4-FFF2-40B4-BE49-F238E27FC236}">
                <a16:creationId xmlns:a16="http://schemas.microsoft.com/office/drawing/2014/main" id="{91246768-A67A-37E0-258B-8EB43DCCC090}"/>
              </a:ext>
            </a:extLst>
          </p:cNvPr>
          <p:cNvSpPr txBox="1"/>
          <p:nvPr/>
        </p:nvSpPr>
        <p:spPr>
          <a:xfrm>
            <a:off x="130628" y="912038"/>
            <a:ext cx="8327572" cy="382862"/>
          </a:xfrm>
          <a:prstGeom prst="rect">
            <a:avLst/>
          </a:prstGeom>
          <a:noFill/>
        </p:spPr>
        <p:txBody>
          <a:bodyPr wrap="square">
            <a:spAutoFit/>
          </a:bodyPr>
          <a:lstStyle/>
          <a:p>
            <a:pPr lvl="0" algn="just">
              <a:lnSpc>
                <a:spcPct val="115000"/>
              </a:lnSpc>
              <a:tabLst>
                <a:tab pos="226695" algn="l"/>
              </a:tabLst>
            </a:pPr>
            <a:r>
              <a:rPr lang="en-GB" sz="1800" b="1" dirty="0">
                <a:effectLst/>
                <a:latin typeface="Tahoma" panose="020B0604030504040204" pitchFamily="34" charset="0"/>
                <a:ea typeface="Times New Roman" panose="02020603050405020304" pitchFamily="18" charset="0"/>
                <a:cs typeface="Times New Roman" panose="02020603050405020304" pitchFamily="18" charset="0"/>
              </a:rPr>
              <a:t>Stage Three -  Technical Eligibility -</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 </a:t>
            </a:r>
            <a:r>
              <a:rPr lang="en-GB" sz="1800" b="1" dirty="0">
                <a:effectLst/>
                <a:latin typeface="Tahoma" panose="020B0604030504040204" pitchFamily="34" charset="0"/>
                <a:ea typeface="Times New Roman" panose="02020603050405020304" pitchFamily="18" charset="0"/>
                <a:cs typeface="Times New Roman" panose="02020603050405020304" pitchFamily="18" charset="0"/>
              </a:rPr>
              <a:t>Professional Registration</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7" name="TextBox 6">
            <a:extLst>
              <a:ext uri="{FF2B5EF4-FFF2-40B4-BE49-F238E27FC236}">
                <a16:creationId xmlns:a16="http://schemas.microsoft.com/office/drawing/2014/main" id="{EBD15264-2D68-32A1-11B7-B9286C079E7A}"/>
              </a:ext>
            </a:extLst>
          </p:cNvPr>
          <p:cNvSpPr txBox="1"/>
          <p:nvPr/>
        </p:nvSpPr>
        <p:spPr>
          <a:xfrm>
            <a:off x="-130629" y="1570341"/>
            <a:ext cx="9144000" cy="1338508"/>
          </a:xfrm>
          <a:prstGeom prst="rect">
            <a:avLst/>
          </a:prstGeom>
          <a:noFill/>
        </p:spPr>
        <p:txBody>
          <a:bodyPr wrap="square">
            <a:spAutoFit/>
          </a:bodyPr>
          <a:lstStyle/>
          <a:p>
            <a:pPr marL="457200" algn="just">
              <a:lnSpc>
                <a:spcPct val="115000"/>
              </a:lnSpc>
              <a:tabLst>
                <a:tab pos="226695" algn="l"/>
              </a:tabLst>
            </a:pPr>
            <a:r>
              <a:rPr lang="en-GB" sz="1800" dirty="0">
                <a:effectLst/>
                <a:latin typeface="Tahoma" panose="020B0604030504040204" pitchFamily="34" charset="0"/>
                <a:ea typeface="Times New Roman" panose="02020603050405020304" pitchFamily="18" charset="0"/>
                <a:cs typeface="Times New Roman" panose="02020603050405020304" pitchFamily="18" charset="0"/>
              </a:rPr>
              <a:t>The tenderer to submit all active professional registration certificates for all key engineering personnel with Engineering Council of South Africa (ECSA), or Washington Accord Equivalent. Curriculum Vitae to be submitted to demonstrate relevant experience in line with professional registration.</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633773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0469DD5-55CD-F10C-1650-562458720426}"/>
              </a:ext>
            </a:extLst>
          </p:cNvPr>
          <p:cNvSpPr txBox="1"/>
          <p:nvPr/>
        </p:nvSpPr>
        <p:spPr>
          <a:xfrm>
            <a:off x="272143" y="392277"/>
            <a:ext cx="6096000" cy="369332"/>
          </a:xfrm>
          <a:prstGeom prst="rect">
            <a:avLst/>
          </a:prstGeom>
          <a:noFill/>
        </p:spPr>
        <p:txBody>
          <a:bodyPr wrap="square">
            <a:spAutoFit/>
          </a:bodyPr>
          <a:lstStyle/>
          <a:p>
            <a:r>
              <a:rPr lang="en-ZA" sz="1800" b="1" dirty="0">
                <a:latin typeface="+mj-lt"/>
              </a:rPr>
              <a:t>Evaluation Methodology</a:t>
            </a:r>
            <a:endParaRPr lang="en-US" sz="1800" b="1" dirty="0">
              <a:latin typeface="+mj-lt"/>
            </a:endParaRPr>
          </a:p>
        </p:txBody>
      </p:sp>
      <p:sp>
        <p:nvSpPr>
          <p:cNvPr id="4" name="TextBox 3">
            <a:extLst>
              <a:ext uri="{FF2B5EF4-FFF2-40B4-BE49-F238E27FC236}">
                <a16:creationId xmlns:a16="http://schemas.microsoft.com/office/drawing/2014/main" id="{7D37A177-F05C-B64C-5710-0FD62D571A4C}"/>
              </a:ext>
            </a:extLst>
          </p:cNvPr>
          <p:cNvSpPr txBox="1"/>
          <p:nvPr/>
        </p:nvSpPr>
        <p:spPr>
          <a:xfrm>
            <a:off x="609600" y="1215317"/>
            <a:ext cx="9285514" cy="3194721"/>
          </a:xfrm>
          <a:prstGeom prst="rect">
            <a:avLst/>
          </a:prstGeom>
          <a:noFill/>
        </p:spPr>
        <p:txBody>
          <a:bodyPr wrap="square">
            <a:spAutoFit/>
          </a:bodyPr>
          <a:lstStyle/>
          <a:p>
            <a:pPr marL="342900" lvl="0" indent="-342900" algn="just">
              <a:lnSpc>
                <a:spcPct val="115000"/>
              </a:lnSpc>
              <a:buFont typeface="+mj-lt"/>
              <a:buAutoNum type="arabicPeriod"/>
              <a:tabLst>
                <a:tab pos="226695" algn="l"/>
              </a:tabLst>
            </a:pPr>
            <a:r>
              <a:rPr lang="en-GB" sz="1800" b="1" dirty="0">
                <a:effectLst/>
                <a:latin typeface="Tahoma" panose="020B0604030504040204" pitchFamily="34" charset="0"/>
                <a:ea typeface="Times New Roman" panose="02020603050405020304" pitchFamily="18" charset="0"/>
                <a:cs typeface="Times New Roman" panose="02020603050405020304" pitchFamily="18" charset="0"/>
              </a:rPr>
              <a:t>Stage Four - Functionality: </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15000"/>
              </a:lnSpc>
              <a:tabLst>
                <a:tab pos="226695" algn="l"/>
              </a:tabLst>
            </a:pPr>
            <a:r>
              <a:rPr lang="en-GB" sz="1800" dirty="0">
                <a:effectLst/>
                <a:latin typeface="Tahoma" panose="020B0604030504040204" pitchFamily="34" charset="0"/>
                <a:ea typeface="Times New Roman" panose="02020603050405020304" pitchFamily="18" charset="0"/>
                <a:cs typeface="Times New Roman" panose="02020603050405020304" pitchFamily="18" charset="0"/>
              </a:rPr>
              <a:t>Only those tenderers who obtain the minimum qualifying score for functionality will be evaluated further in terms of price and the applicable preference point system.  The minimum qualifying for score for functionality is </a:t>
            </a:r>
            <a:r>
              <a:rPr lang="en-GB" sz="1800" b="1" dirty="0">
                <a:effectLst/>
                <a:latin typeface="Tahoma" panose="020B0604030504040204" pitchFamily="34" charset="0"/>
                <a:ea typeface="Times New Roman" panose="02020603050405020304" pitchFamily="18" charset="0"/>
                <a:cs typeface="Times New Roman" panose="02020603050405020304" pitchFamily="18" charset="0"/>
              </a:rPr>
              <a:t>70 points</a:t>
            </a:r>
            <a:r>
              <a:rPr lang="en-GB" sz="1800" dirty="0">
                <a:effectLst/>
                <a:latin typeface="Tahoma" panose="020B0604030504040204" pitchFamily="34" charset="0"/>
                <a:ea typeface="Times New Roman" panose="02020603050405020304" pitchFamily="18" charset="0"/>
                <a:cs typeface="Times New Roman" panose="02020603050405020304" pitchFamily="18" charset="0"/>
              </a:rPr>
              <a:t>.</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15000"/>
              </a:lnSpc>
              <a:tabLst>
                <a:tab pos="226695" algn="l"/>
              </a:tabLst>
            </a:pPr>
            <a:r>
              <a:rPr lang="en-GB" sz="1800" dirty="0">
                <a:effectLst/>
                <a:latin typeface="Tahoma" panose="020B0604030504040204" pitchFamily="34" charset="0"/>
                <a:ea typeface="Times New Roman" panose="02020603050405020304" pitchFamily="18" charset="0"/>
                <a:cs typeface="Times New Roman" panose="02020603050405020304" pitchFamily="18" charset="0"/>
              </a:rPr>
              <a:t> </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15000"/>
              </a:lnSpc>
              <a:tabLst>
                <a:tab pos="226695" algn="l"/>
              </a:tabLst>
            </a:pPr>
            <a:r>
              <a:rPr lang="en-GB" sz="1800" dirty="0">
                <a:effectLst/>
                <a:latin typeface="Tahoma" panose="020B0604030504040204" pitchFamily="34" charset="0"/>
                <a:ea typeface="Times New Roman" panose="02020603050405020304" pitchFamily="18" charset="0"/>
                <a:cs typeface="Times New Roman" panose="02020603050405020304" pitchFamily="18" charset="0"/>
              </a:rPr>
              <a:t>The evaluation criteria for measuring functionality and the points for each criteria and, if any, each sub-criterion are as stated in C3.11 </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457200" algn="just">
              <a:lnSpc>
                <a:spcPct val="115000"/>
              </a:lnSpc>
              <a:tabLst>
                <a:tab pos="226695" algn="l"/>
              </a:tabLst>
            </a:pPr>
            <a:r>
              <a:rPr lang="en-GB" sz="1800" dirty="0">
                <a:effectLst/>
                <a:latin typeface="Tahoma" panose="020B0604030504040204" pitchFamily="34" charset="0"/>
                <a:ea typeface="Times New Roman" panose="02020603050405020304" pitchFamily="18" charset="0"/>
                <a:cs typeface="Times New Roman" panose="02020603050405020304" pitchFamily="18" charset="0"/>
              </a:rPr>
              <a:t> </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p>
            <a:r>
              <a:rPr lang="en-GB" sz="1800" b="1" i="1" dirty="0">
                <a:solidFill>
                  <a:srgbClr val="000000"/>
                </a:solidFill>
                <a:effectLst/>
                <a:latin typeface="Tahoma" panose="020B0604030504040204" pitchFamily="34" charset="0"/>
                <a:ea typeface="Times New Roman" panose="02020603050405020304" pitchFamily="18" charset="0"/>
              </a:rPr>
              <a:t>Any tenderer that fails to</a:t>
            </a:r>
            <a:r>
              <a:rPr lang="en-GB" sz="1800" b="1" i="1" dirty="0">
                <a:effectLst/>
                <a:latin typeface="Tahoma" panose="020B0604030504040204" pitchFamily="34" charset="0"/>
                <a:ea typeface="Times New Roman" panose="02020603050405020304" pitchFamily="18" charset="0"/>
              </a:rPr>
              <a:t> meet the stipulated pre-qualifying criteria will be regarded as an unacceptable tender.</a:t>
            </a:r>
            <a:endParaRPr lang="en-ZA" dirty="0"/>
          </a:p>
        </p:txBody>
      </p:sp>
    </p:spTree>
    <p:extLst>
      <p:ext uri="{BB962C8B-B14F-4D97-AF65-F5344CB8AC3E}">
        <p14:creationId xmlns:p14="http://schemas.microsoft.com/office/powerpoint/2010/main" val="15792416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011EC68-2AC4-99B5-6122-26AA2A4D4763}"/>
              </a:ext>
            </a:extLst>
          </p:cNvPr>
          <p:cNvSpPr txBox="1"/>
          <p:nvPr/>
        </p:nvSpPr>
        <p:spPr>
          <a:xfrm>
            <a:off x="495300" y="975271"/>
            <a:ext cx="11054443" cy="1019959"/>
          </a:xfrm>
          <a:prstGeom prst="rect">
            <a:avLst/>
          </a:prstGeom>
          <a:noFill/>
        </p:spPr>
        <p:txBody>
          <a:bodyPr wrap="square">
            <a:spAutoFit/>
          </a:bodyPr>
          <a:lstStyle/>
          <a:p>
            <a:pPr algn="just">
              <a:lnSpc>
                <a:spcPct val="115000"/>
              </a:lnSpc>
              <a:tabLst>
                <a:tab pos="226695" algn="l"/>
              </a:tabLst>
            </a:pPr>
            <a:r>
              <a:rPr lang="en-GB" b="1" dirty="0">
                <a:latin typeface="Tahoma" panose="020B0604030504040204" pitchFamily="34" charset="0"/>
                <a:ea typeface="Times New Roman" panose="02020603050405020304" pitchFamily="18" charset="0"/>
                <a:cs typeface="Times New Roman" panose="02020603050405020304" pitchFamily="18" charset="0"/>
              </a:rPr>
              <a:t>Stage Five : Evaluation and Final Weighted Scoring</a:t>
            </a:r>
            <a:endParaRPr lang="en-GB" sz="1800" b="1" dirty="0">
              <a:effectLst/>
              <a:latin typeface="Tahoma" panose="020B0604030504040204" pitchFamily="34" charset="0"/>
              <a:ea typeface="Times New Roman" panose="02020603050405020304" pitchFamily="18" charset="0"/>
              <a:cs typeface="Times New Roman" panose="02020603050405020304" pitchFamily="18" charset="0"/>
            </a:endParaRPr>
          </a:p>
          <a:p>
            <a:pPr algn="just">
              <a:lnSpc>
                <a:spcPct val="115000"/>
              </a:lnSpc>
              <a:tabLst>
                <a:tab pos="226695" algn="l"/>
              </a:tabLst>
            </a:pPr>
            <a:r>
              <a:rPr lang="en-GB" sz="1800" dirty="0">
                <a:effectLst/>
                <a:latin typeface="Tahoma" panose="020B0604030504040204" pitchFamily="34" charset="0"/>
                <a:ea typeface="Times New Roman" panose="02020603050405020304" pitchFamily="18" charset="0"/>
                <a:cs typeface="Times New Roman" panose="02020603050405020304" pitchFamily="18" charset="0"/>
              </a:rPr>
              <a:t>Only tenders that achieve the minimum qualifying score for functionality will be evaluated further in accordance with the 90/10 preference points systems as described in Preferential Procurement Regulations.</a:t>
            </a: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TextBox 3">
            <a:extLst>
              <a:ext uri="{FF2B5EF4-FFF2-40B4-BE49-F238E27FC236}">
                <a16:creationId xmlns:a16="http://schemas.microsoft.com/office/drawing/2014/main" id="{0E041112-62A4-43A1-9257-92391739D448}"/>
              </a:ext>
            </a:extLst>
          </p:cNvPr>
          <p:cNvSpPr txBox="1"/>
          <p:nvPr/>
        </p:nvSpPr>
        <p:spPr>
          <a:xfrm>
            <a:off x="217715" y="392277"/>
            <a:ext cx="6096000" cy="369332"/>
          </a:xfrm>
          <a:prstGeom prst="rect">
            <a:avLst/>
          </a:prstGeom>
          <a:noFill/>
        </p:spPr>
        <p:txBody>
          <a:bodyPr wrap="square">
            <a:spAutoFit/>
          </a:bodyPr>
          <a:lstStyle/>
          <a:p>
            <a:r>
              <a:rPr lang="en-ZA" sz="1800" b="1" dirty="0">
                <a:latin typeface="+mj-lt"/>
              </a:rPr>
              <a:t>Evaluation Methodology</a:t>
            </a:r>
            <a:endParaRPr lang="en-US" sz="1800" b="1" dirty="0">
              <a:latin typeface="+mj-lt"/>
            </a:endParaRPr>
          </a:p>
        </p:txBody>
      </p:sp>
      <p:graphicFrame>
        <p:nvGraphicFramePr>
          <p:cNvPr id="9" name="Table 8">
            <a:extLst>
              <a:ext uri="{FF2B5EF4-FFF2-40B4-BE49-F238E27FC236}">
                <a16:creationId xmlns:a16="http://schemas.microsoft.com/office/drawing/2014/main" id="{976BE4DA-1CD2-E532-17E4-C00FAB9D6D50}"/>
              </a:ext>
            </a:extLst>
          </p:cNvPr>
          <p:cNvGraphicFramePr>
            <a:graphicFrameLocks noGrp="1"/>
          </p:cNvGraphicFramePr>
          <p:nvPr>
            <p:extLst>
              <p:ext uri="{D42A27DB-BD31-4B8C-83A1-F6EECF244321}">
                <p14:modId xmlns:p14="http://schemas.microsoft.com/office/powerpoint/2010/main" val="442140896"/>
              </p:ext>
            </p:extLst>
          </p:nvPr>
        </p:nvGraphicFramePr>
        <p:xfrm>
          <a:off x="827313" y="2208892"/>
          <a:ext cx="9666515" cy="2820308"/>
        </p:xfrm>
        <a:graphic>
          <a:graphicData uri="http://schemas.openxmlformats.org/drawingml/2006/table">
            <a:tbl>
              <a:tblPr firstRow="1" firstCol="1" bandRow="1">
                <a:tableStyleId>{5C22544A-7EE6-4342-B048-85BDC9FD1C3A}</a:tableStyleId>
              </a:tblPr>
              <a:tblGrid>
                <a:gridCol w="6470832">
                  <a:extLst>
                    <a:ext uri="{9D8B030D-6E8A-4147-A177-3AD203B41FA5}">
                      <a16:colId xmlns:a16="http://schemas.microsoft.com/office/drawing/2014/main" val="302709292"/>
                    </a:ext>
                  </a:extLst>
                </a:gridCol>
                <a:gridCol w="3195683">
                  <a:extLst>
                    <a:ext uri="{9D8B030D-6E8A-4147-A177-3AD203B41FA5}">
                      <a16:colId xmlns:a16="http://schemas.microsoft.com/office/drawing/2014/main" val="1756807966"/>
                    </a:ext>
                  </a:extLst>
                </a:gridCol>
              </a:tblGrid>
              <a:tr h="673811">
                <a:tc>
                  <a:txBody>
                    <a:bodyPr/>
                    <a:lstStyle/>
                    <a:p>
                      <a:pPr algn="ctr">
                        <a:spcAft>
                          <a:spcPts val="300"/>
                        </a:spcAft>
                        <a:tabLst>
                          <a:tab pos="226695" algn="l"/>
                        </a:tabLst>
                      </a:pPr>
                      <a:r>
                        <a:rPr lang="en-GB" sz="1800">
                          <a:effectLst/>
                        </a:rPr>
                        <a:t>Evaluation Criteria</a:t>
                      </a:r>
                      <a:endParaRPr lang="en-ZA" sz="18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300"/>
                        </a:spcAft>
                        <a:tabLst>
                          <a:tab pos="226695" algn="l"/>
                        </a:tabLst>
                      </a:pPr>
                      <a:r>
                        <a:rPr lang="en-GB" sz="1800">
                          <a:effectLst/>
                        </a:rPr>
                        <a:t>Final Weighted Scores</a:t>
                      </a:r>
                      <a:endParaRPr lang="en-ZA" sz="18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150611965"/>
                  </a:ext>
                </a:extLst>
              </a:tr>
              <a:tr h="673811">
                <a:tc>
                  <a:txBody>
                    <a:bodyPr/>
                    <a:lstStyle/>
                    <a:p>
                      <a:pPr>
                        <a:spcAft>
                          <a:spcPts val="300"/>
                        </a:spcAft>
                        <a:tabLst>
                          <a:tab pos="226695" algn="l"/>
                        </a:tabLst>
                      </a:pPr>
                      <a:r>
                        <a:rPr lang="en-GB" sz="1800">
                          <a:effectLst/>
                        </a:rPr>
                        <a:t>Price </a:t>
                      </a:r>
                      <a:endParaRPr lang="en-ZA" sz="18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300"/>
                        </a:spcAft>
                        <a:tabLst>
                          <a:tab pos="226695" algn="l"/>
                        </a:tabLst>
                      </a:pPr>
                      <a:r>
                        <a:rPr lang="en-GB" sz="1800">
                          <a:effectLst/>
                        </a:rPr>
                        <a:t>90</a:t>
                      </a:r>
                      <a:endParaRPr lang="en-ZA" sz="18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727608615"/>
                  </a:ext>
                </a:extLst>
              </a:tr>
              <a:tr h="673811">
                <a:tc>
                  <a:txBody>
                    <a:bodyPr/>
                    <a:lstStyle/>
                    <a:p>
                      <a:pPr marL="471170" indent="-471170">
                        <a:spcAft>
                          <a:spcPts val="300"/>
                        </a:spcAft>
                        <a:tabLst>
                          <a:tab pos="226695" algn="l"/>
                          <a:tab pos="226695" algn="l"/>
                          <a:tab pos="651510" algn="l"/>
                        </a:tabLst>
                      </a:pPr>
                      <a:r>
                        <a:rPr lang="en-GB" sz="1800">
                          <a:effectLst/>
                        </a:rPr>
                        <a:t>Specific goals - Scorecard</a:t>
                      </a:r>
                      <a:endParaRPr lang="en-ZA" sz="18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300"/>
                        </a:spcAft>
                        <a:tabLst>
                          <a:tab pos="226695" algn="l"/>
                        </a:tabLst>
                      </a:pPr>
                      <a:r>
                        <a:rPr lang="en-GB" sz="1800">
                          <a:effectLst/>
                        </a:rPr>
                        <a:t>10</a:t>
                      </a:r>
                      <a:endParaRPr lang="en-ZA" sz="18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144415132"/>
                  </a:ext>
                </a:extLst>
              </a:tr>
              <a:tr h="798875">
                <a:tc>
                  <a:txBody>
                    <a:bodyPr/>
                    <a:lstStyle/>
                    <a:p>
                      <a:pPr algn="l">
                        <a:spcAft>
                          <a:spcPts val="300"/>
                        </a:spcAft>
                        <a:tabLst>
                          <a:tab pos="226695" algn="l"/>
                        </a:tabLst>
                      </a:pPr>
                      <a:r>
                        <a:rPr lang="en-GB" sz="1800" dirty="0">
                          <a:effectLst/>
                        </a:rPr>
                        <a:t>TOTAL SCORE:</a:t>
                      </a:r>
                      <a:endParaRPr lang="en-ZA" sz="1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300"/>
                        </a:spcAft>
                        <a:tabLst>
                          <a:tab pos="226695" algn="l"/>
                        </a:tabLst>
                      </a:pPr>
                      <a:r>
                        <a:rPr lang="en-GB" sz="1800" dirty="0">
                          <a:effectLst/>
                        </a:rPr>
                        <a:t>100</a:t>
                      </a:r>
                      <a:endParaRPr lang="en-ZA" sz="1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668575889"/>
                  </a:ext>
                </a:extLst>
              </a:tr>
            </a:tbl>
          </a:graphicData>
        </a:graphic>
      </p:graphicFrame>
    </p:spTree>
    <p:extLst>
      <p:ext uri="{BB962C8B-B14F-4D97-AF65-F5344CB8AC3E}">
        <p14:creationId xmlns:p14="http://schemas.microsoft.com/office/powerpoint/2010/main" val="19640888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F2318A9-28D2-98C6-5589-7B208E8A9708}"/>
              </a:ext>
            </a:extLst>
          </p:cNvPr>
          <p:cNvSpPr txBox="1"/>
          <p:nvPr/>
        </p:nvSpPr>
        <p:spPr>
          <a:xfrm>
            <a:off x="348343" y="490248"/>
            <a:ext cx="6096000" cy="369332"/>
          </a:xfrm>
          <a:prstGeom prst="rect">
            <a:avLst/>
          </a:prstGeom>
          <a:noFill/>
        </p:spPr>
        <p:txBody>
          <a:bodyPr wrap="square">
            <a:spAutoFit/>
          </a:bodyPr>
          <a:lstStyle/>
          <a:p>
            <a:r>
              <a:rPr lang="en-GB" b="1" dirty="0">
                <a:latin typeface="+mj-lt"/>
              </a:rPr>
              <a:t>NEC ECC APPLICABLE CLAUSES </a:t>
            </a:r>
            <a:endParaRPr lang="en-ZA" b="1" dirty="0">
              <a:latin typeface="+mj-lt"/>
            </a:endParaRPr>
          </a:p>
        </p:txBody>
      </p:sp>
      <p:sp>
        <p:nvSpPr>
          <p:cNvPr id="5" name="TextBox 4">
            <a:extLst>
              <a:ext uri="{FF2B5EF4-FFF2-40B4-BE49-F238E27FC236}">
                <a16:creationId xmlns:a16="http://schemas.microsoft.com/office/drawing/2014/main" id="{9816574B-8AF3-D914-7A69-E3DCAF4AF436}"/>
              </a:ext>
            </a:extLst>
          </p:cNvPr>
          <p:cNvSpPr txBox="1"/>
          <p:nvPr/>
        </p:nvSpPr>
        <p:spPr>
          <a:xfrm>
            <a:off x="664028" y="999445"/>
            <a:ext cx="6096000" cy="3277820"/>
          </a:xfrm>
          <a:prstGeom prst="rect">
            <a:avLst/>
          </a:prstGeom>
          <a:noFill/>
        </p:spPr>
        <p:txBody>
          <a:bodyPr wrap="square">
            <a:spAutoFit/>
          </a:bodyPr>
          <a:lstStyle/>
          <a:p>
            <a:pPr fontAlgn="t">
              <a:lnSpc>
                <a:spcPct val="115000"/>
              </a:lnSpc>
            </a:pPr>
            <a:r>
              <a:rPr lang="en-US" dirty="0">
                <a:solidFill>
                  <a:srgbClr val="000000"/>
                </a:solidFill>
                <a:ea typeface="Calibri" panose="020F0502020204030204" pitchFamily="34" charset="0"/>
                <a:cs typeface="Times New Roman" panose="02020603050405020304" pitchFamily="18" charset="0"/>
              </a:rPr>
              <a:t>B: Priced contract with bill of quantities</a:t>
            </a:r>
            <a:endParaRPr lang="en-ZA" dirty="0">
              <a:solidFill>
                <a:srgbClr val="000000"/>
              </a:solidFill>
              <a:ea typeface="Calibri" panose="020F0502020204030204" pitchFamily="34" charset="0"/>
              <a:cs typeface="Times New Roman" panose="02020603050405020304" pitchFamily="18" charset="0"/>
            </a:endParaRPr>
          </a:p>
          <a:p>
            <a:pPr fontAlgn="t">
              <a:lnSpc>
                <a:spcPct val="115000"/>
              </a:lnSpc>
            </a:pPr>
            <a:r>
              <a:rPr lang="en-ZA" dirty="0">
                <a:solidFill>
                  <a:srgbClr val="000000"/>
                </a:solidFill>
                <a:ea typeface="Calibri" panose="020F0502020204030204" pitchFamily="34" charset="0"/>
                <a:cs typeface="Times New Roman" panose="02020603050405020304" pitchFamily="18" charset="0"/>
              </a:rPr>
              <a:t>W1:	Dispute resolution procedure</a:t>
            </a:r>
          </a:p>
          <a:p>
            <a:pPr fontAlgn="t">
              <a:lnSpc>
                <a:spcPct val="115000"/>
              </a:lnSpc>
            </a:pPr>
            <a:r>
              <a:rPr lang="en-US" dirty="0">
                <a:solidFill>
                  <a:srgbClr val="000000"/>
                </a:solidFill>
                <a:ea typeface="Calibri" panose="020F0502020204030204" pitchFamily="34" charset="0"/>
                <a:cs typeface="Times New Roman" panose="02020603050405020304" pitchFamily="18" charset="0"/>
              </a:rPr>
              <a:t>X1: Price adjustment for inflation</a:t>
            </a:r>
            <a:endParaRPr lang="en-ZA" dirty="0">
              <a:solidFill>
                <a:srgbClr val="000000"/>
              </a:solidFill>
              <a:ea typeface="Calibri" panose="020F0502020204030204" pitchFamily="34" charset="0"/>
              <a:cs typeface="Times New Roman" panose="02020603050405020304" pitchFamily="18" charset="0"/>
            </a:endParaRPr>
          </a:p>
          <a:p>
            <a:pPr fontAlgn="t">
              <a:lnSpc>
                <a:spcPct val="115000"/>
              </a:lnSpc>
            </a:pPr>
            <a:r>
              <a:rPr lang="en-ZA" dirty="0">
                <a:solidFill>
                  <a:srgbClr val="000000"/>
                </a:solidFill>
                <a:ea typeface="Calibri" panose="020F0502020204030204" pitchFamily="34" charset="0"/>
                <a:cs typeface="Times New Roman" panose="02020603050405020304" pitchFamily="18" charset="0"/>
              </a:rPr>
              <a:t>X2:	</a:t>
            </a:r>
            <a:r>
              <a:rPr lang="en-US" dirty="0">
                <a:solidFill>
                  <a:srgbClr val="000000"/>
                </a:solidFill>
                <a:ea typeface="Calibri" panose="020F0502020204030204" pitchFamily="34" charset="0"/>
                <a:cs typeface="Times New Roman" panose="02020603050405020304" pitchFamily="18" charset="0"/>
              </a:rPr>
              <a:t>Changes in the law</a:t>
            </a:r>
            <a:endParaRPr lang="en-ZA" dirty="0">
              <a:solidFill>
                <a:srgbClr val="000000"/>
              </a:solidFill>
              <a:ea typeface="Calibri" panose="020F0502020204030204" pitchFamily="34" charset="0"/>
              <a:cs typeface="Times New Roman" panose="02020603050405020304" pitchFamily="18" charset="0"/>
            </a:endParaRPr>
          </a:p>
          <a:p>
            <a:pPr fontAlgn="t">
              <a:lnSpc>
                <a:spcPct val="115000"/>
              </a:lnSpc>
            </a:pPr>
            <a:r>
              <a:rPr lang="en-ZA" dirty="0">
                <a:solidFill>
                  <a:srgbClr val="000000"/>
                </a:solidFill>
                <a:ea typeface="Calibri" panose="020F0502020204030204" pitchFamily="34" charset="0"/>
                <a:cs typeface="Times New Roman" panose="02020603050405020304" pitchFamily="18" charset="0"/>
              </a:rPr>
              <a:t>X5:	</a:t>
            </a:r>
            <a:r>
              <a:rPr lang="en-US" dirty="0">
                <a:solidFill>
                  <a:srgbClr val="000000"/>
                </a:solidFill>
                <a:ea typeface="Calibri" panose="020F0502020204030204" pitchFamily="34" charset="0"/>
                <a:cs typeface="Times New Roman" panose="02020603050405020304" pitchFamily="18" charset="0"/>
              </a:rPr>
              <a:t>Sectional Completion</a:t>
            </a:r>
            <a:endParaRPr lang="en-ZA" dirty="0">
              <a:solidFill>
                <a:srgbClr val="000000"/>
              </a:solidFill>
              <a:ea typeface="Calibri" panose="020F0502020204030204" pitchFamily="34" charset="0"/>
              <a:cs typeface="Times New Roman" panose="02020603050405020304" pitchFamily="18" charset="0"/>
            </a:endParaRPr>
          </a:p>
          <a:p>
            <a:pPr fontAlgn="t">
              <a:lnSpc>
                <a:spcPct val="115000"/>
              </a:lnSpc>
            </a:pPr>
            <a:r>
              <a:rPr lang="en-ZA" dirty="0">
                <a:solidFill>
                  <a:srgbClr val="000000"/>
                </a:solidFill>
                <a:ea typeface="Calibri" panose="020F0502020204030204" pitchFamily="34" charset="0"/>
                <a:cs typeface="Times New Roman" panose="02020603050405020304" pitchFamily="18" charset="0"/>
              </a:rPr>
              <a:t>X7:	Delay damages</a:t>
            </a:r>
          </a:p>
          <a:p>
            <a:pPr marL="0" fontAlgn="t">
              <a:lnSpc>
                <a:spcPct val="115000"/>
              </a:lnSpc>
              <a:spcBef>
                <a:spcPts val="0"/>
              </a:spcBef>
              <a:spcAft>
                <a:spcPts val="0"/>
              </a:spcAft>
            </a:pPr>
            <a:r>
              <a:rPr lang="en-ZA" sz="1800" dirty="0">
                <a:solidFill>
                  <a:srgbClr val="000000"/>
                </a:solidFill>
                <a:ea typeface="Calibri" panose="020F0502020204030204" pitchFamily="34" charset="0"/>
                <a:cs typeface="Times New Roman" panose="02020603050405020304" pitchFamily="18" charset="0"/>
              </a:rPr>
              <a:t>X13: </a:t>
            </a:r>
            <a:r>
              <a:rPr lang="en-US" sz="1800" dirty="0">
                <a:solidFill>
                  <a:srgbClr val="000000"/>
                </a:solidFill>
                <a:cs typeface="Times New Roman" panose="02020603050405020304" pitchFamily="18" charset="0"/>
              </a:rPr>
              <a:t>Performance Bond</a:t>
            </a:r>
            <a:endParaRPr lang="en-ZA" sz="1800" dirty="0">
              <a:solidFill>
                <a:srgbClr val="000000"/>
              </a:solidFill>
              <a:cs typeface="Times New Roman" panose="02020603050405020304" pitchFamily="18" charset="0"/>
            </a:endParaRPr>
          </a:p>
          <a:p>
            <a:pPr marL="0" fontAlgn="t">
              <a:lnSpc>
                <a:spcPct val="115000"/>
              </a:lnSpc>
              <a:spcBef>
                <a:spcPts val="0"/>
              </a:spcBef>
              <a:spcAft>
                <a:spcPts val="0"/>
              </a:spcAft>
            </a:pPr>
            <a:r>
              <a:rPr lang="en-ZA" sz="1800" dirty="0">
                <a:solidFill>
                  <a:srgbClr val="000000"/>
                </a:solidFill>
                <a:ea typeface="Calibri" panose="020F0502020204030204" pitchFamily="34" charset="0"/>
                <a:cs typeface="Times New Roman" panose="02020603050405020304" pitchFamily="18" charset="0"/>
              </a:rPr>
              <a:t>X16: Retention</a:t>
            </a:r>
            <a:endParaRPr lang="en-ZA" sz="4000" dirty="0"/>
          </a:p>
          <a:p>
            <a:pPr marL="0" fontAlgn="t">
              <a:lnSpc>
                <a:spcPct val="115000"/>
              </a:lnSpc>
              <a:spcBef>
                <a:spcPts val="0"/>
              </a:spcBef>
              <a:spcAft>
                <a:spcPts val="0"/>
              </a:spcAft>
            </a:pPr>
            <a:r>
              <a:rPr lang="en-ZA" sz="1800" dirty="0">
                <a:solidFill>
                  <a:srgbClr val="000000"/>
                </a:solidFill>
                <a:ea typeface="Calibri" panose="020F0502020204030204" pitchFamily="34" charset="0"/>
                <a:cs typeface="Times New Roman" panose="02020603050405020304" pitchFamily="18" charset="0"/>
              </a:rPr>
              <a:t>X18: Limitation of liability</a:t>
            </a:r>
            <a:endParaRPr lang="en-ZA" sz="4000" dirty="0"/>
          </a:p>
          <a:p>
            <a:pPr marL="0" fontAlgn="t">
              <a:lnSpc>
                <a:spcPct val="115000"/>
              </a:lnSpc>
              <a:spcBef>
                <a:spcPts val="0"/>
              </a:spcBef>
              <a:spcAft>
                <a:spcPts val="0"/>
              </a:spcAft>
            </a:pPr>
            <a:r>
              <a:rPr lang="en-ZA" sz="1800" dirty="0">
                <a:solidFill>
                  <a:srgbClr val="000000"/>
                </a:solidFill>
                <a:ea typeface="Calibri" panose="020F0502020204030204" pitchFamily="34" charset="0"/>
                <a:cs typeface="Times New Roman" panose="02020603050405020304" pitchFamily="18" charset="0"/>
              </a:rPr>
              <a:t>Z:	Additional conditions of contract</a:t>
            </a:r>
            <a:endParaRPr lang="en-ZA" sz="4000" dirty="0"/>
          </a:p>
        </p:txBody>
      </p:sp>
    </p:spTree>
    <p:extLst>
      <p:ext uri="{BB962C8B-B14F-4D97-AF65-F5344CB8AC3E}">
        <p14:creationId xmlns:p14="http://schemas.microsoft.com/office/powerpoint/2010/main" val="41747851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838FB70-D027-4A8A-D457-ECA82B783823}"/>
              </a:ext>
            </a:extLst>
          </p:cNvPr>
          <p:cNvSpPr txBox="1"/>
          <p:nvPr/>
        </p:nvSpPr>
        <p:spPr>
          <a:xfrm>
            <a:off x="217715" y="392277"/>
            <a:ext cx="6096000" cy="369332"/>
          </a:xfrm>
          <a:prstGeom prst="rect">
            <a:avLst/>
          </a:prstGeom>
          <a:noFill/>
        </p:spPr>
        <p:txBody>
          <a:bodyPr wrap="square">
            <a:spAutoFit/>
          </a:bodyPr>
          <a:lstStyle>
            <a:defPPr>
              <a:defRPr lang="en-US"/>
            </a:defPPr>
            <a:lvl1pPr>
              <a:defRPr b="1">
                <a:latin typeface="+mj-lt"/>
              </a:defRPr>
            </a:lvl1pPr>
          </a:lstStyle>
          <a:p>
            <a:r>
              <a:rPr lang="en-ZA" dirty="0"/>
              <a:t>CLOSING DATE AND TIME</a:t>
            </a:r>
            <a:endParaRPr lang="en-US" dirty="0"/>
          </a:p>
        </p:txBody>
      </p:sp>
      <p:sp>
        <p:nvSpPr>
          <p:cNvPr id="8" name="TextBox 7">
            <a:extLst>
              <a:ext uri="{FF2B5EF4-FFF2-40B4-BE49-F238E27FC236}">
                <a16:creationId xmlns:a16="http://schemas.microsoft.com/office/drawing/2014/main" id="{D032DC9C-8B4B-56E8-66E6-272C4B504217}"/>
              </a:ext>
            </a:extLst>
          </p:cNvPr>
          <p:cNvSpPr txBox="1"/>
          <p:nvPr/>
        </p:nvSpPr>
        <p:spPr>
          <a:xfrm>
            <a:off x="478972" y="1245907"/>
            <a:ext cx="9818914" cy="1334340"/>
          </a:xfrm>
          <a:prstGeom prst="rect">
            <a:avLst/>
          </a:prstGeom>
          <a:noFill/>
        </p:spPr>
        <p:txBody>
          <a:bodyPr wrap="square">
            <a:spAutoFit/>
          </a:bodyPr>
          <a:lstStyle/>
          <a:p>
            <a:pPr>
              <a:lnSpc>
                <a:spcPct val="115000"/>
              </a:lnSpc>
              <a:tabLst>
                <a:tab pos="226695" algn="l"/>
              </a:tabLst>
            </a:pPr>
            <a:r>
              <a:rPr lang="en-GB" dirty="0">
                <a:effectLst/>
                <a:ea typeface="Times New Roman" panose="02020603050405020304" pitchFamily="18" charset="0"/>
                <a:cs typeface="Times New Roman" panose="02020603050405020304" pitchFamily="18" charset="0"/>
              </a:rPr>
              <a:t>The closing time for submission of tender offers is:</a:t>
            </a:r>
            <a:endParaRPr lang="en-ZA" dirty="0">
              <a:effectLst/>
              <a:ea typeface="Times New Roman" panose="02020603050405020304" pitchFamily="18" charset="0"/>
              <a:cs typeface="Times New Roman" panose="02020603050405020304" pitchFamily="18" charset="0"/>
            </a:endParaRPr>
          </a:p>
          <a:p>
            <a:pPr>
              <a:lnSpc>
                <a:spcPct val="115000"/>
              </a:lnSpc>
              <a:tabLst>
                <a:tab pos="226695" algn="l"/>
              </a:tabLst>
            </a:pPr>
            <a:r>
              <a:rPr lang="en-GB" dirty="0">
                <a:effectLst/>
                <a:ea typeface="Times New Roman" panose="02020603050405020304" pitchFamily="18" charset="0"/>
                <a:cs typeface="Times New Roman" panose="02020603050405020304" pitchFamily="18" charset="0"/>
              </a:rPr>
              <a:t>Time: </a:t>
            </a:r>
            <a:r>
              <a:rPr lang="en-GB" b="1" dirty="0">
                <a:effectLst/>
                <a:ea typeface="Times New Roman" panose="02020603050405020304" pitchFamily="18" charset="0"/>
                <a:cs typeface="Times New Roman" panose="02020603050405020304" pitchFamily="18" charset="0"/>
              </a:rPr>
              <a:t>12:00pm</a:t>
            </a:r>
            <a:r>
              <a:rPr lang="en-GB" dirty="0">
                <a:effectLst/>
                <a:ea typeface="Times New Roman" panose="02020603050405020304" pitchFamily="18" charset="0"/>
                <a:cs typeface="Times New Roman" panose="02020603050405020304" pitchFamily="18" charset="0"/>
              </a:rPr>
              <a:t> on the </a:t>
            </a:r>
            <a:r>
              <a:rPr lang="en-US" b="1" dirty="0">
                <a:effectLst/>
                <a:ea typeface="Times New Roman" panose="02020603050405020304" pitchFamily="18" charset="0"/>
                <a:cs typeface="Times New Roman" panose="02020603050405020304" pitchFamily="18" charset="0"/>
              </a:rPr>
              <a:t>12 April 2024</a:t>
            </a:r>
            <a:endParaRPr lang="en-ZA" dirty="0">
              <a:effectLst/>
              <a:ea typeface="Times New Roman" panose="02020603050405020304" pitchFamily="18" charset="0"/>
              <a:cs typeface="Times New Roman" panose="02020603050405020304" pitchFamily="18" charset="0"/>
            </a:endParaRPr>
          </a:p>
          <a:p>
            <a:pPr>
              <a:lnSpc>
                <a:spcPct val="115000"/>
              </a:lnSpc>
              <a:tabLst>
                <a:tab pos="226695" algn="l"/>
              </a:tabLst>
            </a:pPr>
            <a:r>
              <a:rPr lang="en-GB" dirty="0">
                <a:effectLst/>
                <a:ea typeface="Times New Roman" panose="02020603050405020304" pitchFamily="18" charset="0"/>
                <a:cs typeface="Times New Roman" panose="02020603050405020304" pitchFamily="18" charset="0"/>
              </a:rPr>
              <a:t>Location: </a:t>
            </a:r>
            <a:r>
              <a:rPr lang="en-GB" dirty="0">
                <a:effectLst/>
                <a:ea typeface="Times New Roman" panose="02020603050405020304" pitchFamily="18" charset="0"/>
                <a:cs typeface="Tahoma" panose="020B0604030504040204" pitchFamily="34" charset="0"/>
              </a:rPr>
              <a:t>The Transnet </a:t>
            </a:r>
            <a:r>
              <a:rPr lang="en-ZA" dirty="0">
                <a:solidFill>
                  <a:srgbClr val="000000"/>
                </a:solidFill>
                <a:effectLst/>
                <a:ea typeface="Times New Roman" panose="02020603050405020304" pitchFamily="18" charset="0"/>
                <a:cs typeface="Tahoma" panose="020B0604030504040204" pitchFamily="34" charset="0"/>
              </a:rPr>
              <a:t>e-Tender Submission Portal:</a:t>
            </a:r>
            <a:r>
              <a:rPr lang="en-ZA" dirty="0">
                <a:effectLst/>
                <a:ea typeface="Times New Roman" panose="02020603050405020304" pitchFamily="18" charset="0"/>
                <a:cs typeface="Tahoma" panose="020B0604030504040204" pitchFamily="34" charset="0"/>
              </a:rPr>
              <a:t> (</a:t>
            </a:r>
            <a:r>
              <a:rPr lang="en-GB" u="sng" dirty="0">
                <a:solidFill>
                  <a:srgbClr val="5B9BD5"/>
                </a:solidFill>
                <a:effectLst/>
                <a:ea typeface="Times New Roman" panose="02020603050405020304" pitchFamily="18" charset="0"/>
                <a:cs typeface="Times New Roman" panose="02020603050405020304" pitchFamily="18" charset="0"/>
              </a:rPr>
              <a:t>https://</a:t>
            </a:r>
            <a:r>
              <a:rPr lang="en-GB" dirty="0">
                <a:solidFill>
                  <a:srgbClr val="5B9BD5"/>
                </a:solidFill>
                <a:effectLst/>
                <a:ea typeface="Times New Roman" panose="02020603050405020304" pitchFamily="18" charset="0"/>
                <a:cs typeface="Times New Roman" panose="02020603050405020304" pitchFamily="18" charset="0"/>
                <a:hlinkClick r:id="rId2"/>
              </a:rPr>
              <a:t>transnetetenders.azurewebsites.net</a:t>
            </a:r>
            <a:r>
              <a:rPr lang="en-ZA" dirty="0">
                <a:effectLst/>
                <a:ea typeface="Times New Roman" panose="02020603050405020304" pitchFamily="18" charset="0"/>
                <a:cs typeface="Tahoma" panose="020B0604030504040204" pitchFamily="34" charset="0"/>
              </a:rPr>
              <a:t>);</a:t>
            </a:r>
            <a:endParaRPr lang="en-ZA" dirty="0">
              <a:effectLst/>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819454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Graphic 2">
            <a:extLst>
              <a:ext uri="{FF2B5EF4-FFF2-40B4-BE49-F238E27FC236}">
                <a16:creationId xmlns:a16="http://schemas.microsoft.com/office/drawing/2014/main" id="{1AAE0263-097E-BD53-FF21-7D7BAD027D0D}"/>
              </a:ext>
            </a:extLst>
          </p:cNvPr>
          <p:cNvSpPr/>
          <p:nvPr/>
        </p:nvSpPr>
        <p:spPr>
          <a:xfrm>
            <a:off x="-4438" y="680"/>
            <a:ext cx="12183186" cy="6880473"/>
          </a:xfrm>
          <a:custGeom>
            <a:avLst/>
            <a:gdLst>
              <a:gd name="connsiteX0" fmla="*/ 0 w 9184957"/>
              <a:gd name="connsiteY0" fmla="*/ 0 h 5187219"/>
              <a:gd name="connsiteX1" fmla="*/ 0 w 9184957"/>
              <a:gd name="connsiteY1" fmla="*/ 5187220 h 5187219"/>
              <a:gd name="connsiteX2" fmla="*/ 9184957 w 9184957"/>
              <a:gd name="connsiteY2" fmla="*/ 5187220 h 5187219"/>
              <a:gd name="connsiteX3" fmla="*/ 9184957 w 9184957"/>
              <a:gd name="connsiteY3" fmla="*/ 0 h 5187219"/>
              <a:gd name="connsiteX4" fmla="*/ 7313962 w 9184957"/>
              <a:gd name="connsiteY4" fmla="*/ 853345 h 5187219"/>
              <a:gd name="connsiteX5" fmla="*/ 2378297 w 9184957"/>
              <a:gd name="connsiteY5" fmla="*/ 853345 h 5187219"/>
              <a:gd name="connsiteX6" fmla="*/ 2219325 w 9184957"/>
              <a:gd name="connsiteY6" fmla="*/ 1142524 h 5187219"/>
              <a:gd name="connsiteX7" fmla="*/ 1930908 w 9184957"/>
              <a:gd name="connsiteY7" fmla="*/ 1144429 h 5187219"/>
              <a:gd name="connsiteX8" fmla="*/ 1754600 w 9184957"/>
              <a:gd name="connsiteY8" fmla="*/ 853345 h 5187219"/>
              <a:gd name="connsiteX9" fmla="*/ 1089089 w 9184957"/>
              <a:gd name="connsiteY9" fmla="*/ 853345 h 5187219"/>
              <a:gd name="connsiteX10" fmla="*/ 646367 w 9184957"/>
              <a:gd name="connsiteY10" fmla="*/ 1596961 h 5187219"/>
              <a:gd name="connsiteX11" fmla="*/ 646367 w 9184957"/>
              <a:gd name="connsiteY11" fmla="*/ 2122456 h 5187219"/>
              <a:gd name="connsiteX12" fmla="*/ 923925 w 9184957"/>
              <a:gd name="connsiteY12" fmla="*/ 2553938 h 5187219"/>
              <a:gd name="connsiteX13" fmla="*/ 1338644 w 9184957"/>
              <a:gd name="connsiteY13" fmla="*/ 2553938 h 5187219"/>
              <a:gd name="connsiteX14" fmla="*/ 1400651 w 9184957"/>
              <a:gd name="connsiteY14" fmla="*/ 2446401 h 5187219"/>
              <a:gd name="connsiteX15" fmla="*/ 2143125 w 9184957"/>
              <a:gd name="connsiteY15" fmla="*/ 2446401 h 5187219"/>
              <a:gd name="connsiteX16" fmla="*/ 2249996 w 9184957"/>
              <a:gd name="connsiteY16" fmla="*/ 2637568 h 5187219"/>
              <a:gd name="connsiteX17" fmla="*/ 2249996 w 9184957"/>
              <a:gd name="connsiteY17" fmla="*/ 3031807 h 5187219"/>
              <a:gd name="connsiteX18" fmla="*/ 2390299 w 9184957"/>
              <a:gd name="connsiteY18" fmla="*/ 3276124 h 5187219"/>
              <a:gd name="connsiteX19" fmla="*/ 2389537 w 9184957"/>
              <a:gd name="connsiteY19" fmla="*/ 3535680 h 5187219"/>
              <a:gd name="connsiteX20" fmla="*/ 2625185 w 9184957"/>
              <a:gd name="connsiteY20" fmla="*/ 3964305 h 5187219"/>
              <a:gd name="connsiteX21" fmla="*/ 2625185 w 9184957"/>
              <a:gd name="connsiteY21" fmla="*/ 4296251 h 5187219"/>
              <a:gd name="connsiteX22" fmla="*/ 2847975 w 9184957"/>
              <a:gd name="connsiteY22" fmla="*/ 4558475 h 5187219"/>
              <a:gd name="connsiteX23" fmla="*/ 3111341 w 9184957"/>
              <a:gd name="connsiteY23" fmla="*/ 4560094 h 5187219"/>
              <a:gd name="connsiteX24" fmla="*/ 3248406 w 9184957"/>
              <a:gd name="connsiteY24" fmla="*/ 4332065 h 5187219"/>
              <a:gd name="connsiteX25" fmla="*/ 3248406 w 9184957"/>
              <a:gd name="connsiteY25" fmla="*/ 4113562 h 5187219"/>
              <a:gd name="connsiteX26" fmla="*/ 3634454 w 9184957"/>
              <a:gd name="connsiteY26" fmla="*/ 3508438 h 5187219"/>
              <a:gd name="connsiteX27" fmla="*/ 3634454 w 9184957"/>
              <a:gd name="connsiteY27" fmla="*/ 3102578 h 5187219"/>
              <a:gd name="connsiteX28" fmla="*/ 3858482 w 9184957"/>
              <a:gd name="connsiteY28" fmla="*/ 2749201 h 5187219"/>
              <a:gd name="connsiteX29" fmla="*/ 4080224 w 9184957"/>
              <a:gd name="connsiteY29" fmla="*/ 2751582 h 5187219"/>
              <a:gd name="connsiteX30" fmla="*/ 4357212 w 9184957"/>
              <a:gd name="connsiteY30" fmla="*/ 2267140 h 5187219"/>
              <a:gd name="connsiteX31" fmla="*/ 3769328 w 9184957"/>
              <a:gd name="connsiteY31" fmla="*/ 2267140 h 5187219"/>
              <a:gd name="connsiteX32" fmla="*/ 3541490 w 9184957"/>
              <a:gd name="connsiteY32" fmla="*/ 1875663 h 5187219"/>
              <a:gd name="connsiteX33" fmla="*/ 3541967 w 9184957"/>
              <a:gd name="connsiteY33" fmla="*/ 1558861 h 5187219"/>
              <a:gd name="connsiteX34" fmla="*/ 3233071 w 9184957"/>
              <a:gd name="connsiteY34" fmla="*/ 1132046 h 5187219"/>
              <a:gd name="connsiteX35" fmla="*/ 2543175 w 9184957"/>
              <a:gd name="connsiteY35" fmla="*/ 1132046 h 5187219"/>
              <a:gd name="connsiteX36" fmla="*/ 2358390 w 9184957"/>
              <a:gd name="connsiteY36" fmla="*/ 1469326 h 5187219"/>
              <a:gd name="connsiteX37" fmla="*/ 1789462 w 9184957"/>
              <a:gd name="connsiteY37" fmla="*/ 1469326 h 5187219"/>
              <a:gd name="connsiteX38" fmla="*/ 1586579 w 9184957"/>
              <a:gd name="connsiteY38" fmla="*/ 1122521 h 5187219"/>
              <a:gd name="connsiteX39" fmla="*/ 1223772 w 9184957"/>
              <a:gd name="connsiteY39" fmla="*/ 1122521 h 5187219"/>
              <a:gd name="connsiteX40" fmla="*/ 905637 w 9184957"/>
              <a:gd name="connsiteY40" fmla="*/ 1686211 h 5187219"/>
              <a:gd name="connsiteX41" fmla="*/ 912876 w 9184957"/>
              <a:gd name="connsiteY41" fmla="*/ 2030920 h 5187219"/>
              <a:gd name="connsiteX42" fmla="*/ 1082516 w 9184957"/>
              <a:gd name="connsiteY42" fmla="*/ 2275522 h 5187219"/>
              <a:gd name="connsiteX43" fmla="*/ 1204913 w 9184957"/>
              <a:gd name="connsiteY43" fmla="*/ 2275522 h 5187219"/>
              <a:gd name="connsiteX44" fmla="*/ 1308259 w 9184957"/>
              <a:gd name="connsiteY44" fmla="*/ 2140553 h 5187219"/>
              <a:gd name="connsiteX45" fmla="*/ 2273141 w 9184957"/>
              <a:gd name="connsiteY45" fmla="*/ 2140553 h 5187219"/>
              <a:gd name="connsiteX46" fmla="*/ 2515172 w 9184957"/>
              <a:gd name="connsiteY46" fmla="*/ 2581370 h 5187219"/>
              <a:gd name="connsiteX47" fmla="*/ 2515172 w 9184957"/>
              <a:gd name="connsiteY47" fmla="*/ 2986087 h 5187219"/>
              <a:gd name="connsiteX48" fmla="*/ 2655856 w 9184957"/>
              <a:gd name="connsiteY48" fmla="*/ 3227546 h 5187219"/>
              <a:gd name="connsiteX49" fmla="*/ 2655856 w 9184957"/>
              <a:gd name="connsiteY49" fmla="*/ 3474053 h 5187219"/>
              <a:gd name="connsiteX50" fmla="*/ 2908364 w 9184957"/>
              <a:gd name="connsiteY50" fmla="*/ 3896487 h 5187219"/>
              <a:gd name="connsiteX51" fmla="*/ 2908364 w 9184957"/>
              <a:gd name="connsiteY51" fmla="*/ 4147566 h 5187219"/>
              <a:gd name="connsiteX52" fmla="*/ 2978182 w 9184957"/>
              <a:gd name="connsiteY52" fmla="*/ 4238530 h 5187219"/>
              <a:gd name="connsiteX53" fmla="*/ 3007995 w 9184957"/>
              <a:gd name="connsiteY53" fmla="*/ 4189285 h 5187219"/>
              <a:gd name="connsiteX54" fmla="*/ 3007995 w 9184957"/>
              <a:gd name="connsiteY54" fmla="*/ 4002786 h 5187219"/>
              <a:gd name="connsiteX55" fmla="*/ 3367088 w 9184957"/>
              <a:gd name="connsiteY55" fmla="*/ 3428143 h 5187219"/>
              <a:gd name="connsiteX56" fmla="*/ 3370136 w 9184957"/>
              <a:gd name="connsiteY56" fmla="*/ 2983325 h 5187219"/>
              <a:gd name="connsiteX57" fmla="*/ 3644360 w 9184957"/>
              <a:gd name="connsiteY57" fmla="*/ 2522791 h 5187219"/>
              <a:gd name="connsiteX58" fmla="*/ 3933254 w 9184957"/>
              <a:gd name="connsiteY58" fmla="*/ 2521744 h 5187219"/>
              <a:gd name="connsiteX59" fmla="*/ 3948017 w 9184957"/>
              <a:gd name="connsiteY59" fmla="*/ 2496883 h 5187219"/>
              <a:gd name="connsiteX60" fmla="*/ 3623691 w 9184957"/>
              <a:gd name="connsiteY60" fmla="*/ 2495645 h 5187219"/>
              <a:gd name="connsiteX61" fmla="*/ 3280791 w 9184957"/>
              <a:gd name="connsiteY61" fmla="*/ 1932908 h 5187219"/>
              <a:gd name="connsiteX62" fmla="*/ 3291364 w 9184957"/>
              <a:gd name="connsiteY62" fmla="*/ 1650492 h 5187219"/>
              <a:gd name="connsiteX63" fmla="*/ 3120676 w 9184957"/>
              <a:gd name="connsiteY63" fmla="*/ 1399889 h 5187219"/>
              <a:gd name="connsiteX64" fmla="*/ 2690432 w 9184957"/>
              <a:gd name="connsiteY64" fmla="*/ 1397603 h 5187219"/>
              <a:gd name="connsiteX65" fmla="*/ 2502408 w 9184957"/>
              <a:gd name="connsiteY65" fmla="*/ 1727358 h 5187219"/>
              <a:gd name="connsiteX66" fmla="*/ 1621060 w 9184957"/>
              <a:gd name="connsiteY66" fmla="*/ 1727358 h 5187219"/>
              <a:gd name="connsiteX67" fmla="*/ 1451229 w 9184957"/>
              <a:gd name="connsiteY67" fmla="*/ 1410843 h 5187219"/>
              <a:gd name="connsiteX68" fmla="*/ 1390650 w 9184957"/>
              <a:gd name="connsiteY68" fmla="*/ 1410843 h 5187219"/>
              <a:gd name="connsiteX69" fmla="*/ 1192149 w 9184957"/>
              <a:gd name="connsiteY69" fmla="*/ 1788128 h 5187219"/>
              <a:gd name="connsiteX70" fmla="*/ 1193292 w 9184957"/>
              <a:gd name="connsiteY70" fmla="*/ 1845278 h 5187219"/>
              <a:gd name="connsiteX71" fmla="*/ 2688717 w 9184957"/>
              <a:gd name="connsiteY71" fmla="*/ 1846135 h 5187219"/>
              <a:gd name="connsiteX72" fmla="*/ 2839688 w 9184957"/>
              <a:gd name="connsiteY72" fmla="*/ 1550003 h 5187219"/>
              <a:gd name="connsiteX73" fmla="*/ 3044190 w 9184957"/>
              <a:gd name="connsiteY73" fmla="*/ 1550003 h 5187219"/>
              <a:gd name="connsiteX74" fmla="*/ 3173254 w 9184957"/>
              <a:gd name="connsiteY74" fmla="*/ 1720120 h 5187219"/>
              <a:gd name="connsiteX75" fmla="*/ 3173254 w 9184957"/>
              <a:gd name="connsiteY75" fmla="*/ 2044922 h 5187219"/>
              <a:gd name="connsiteX76" fmla="*/ 3491865 w 9184957"/>
              <a:gd name="connsiteY76" fmla="*/ 2578703 h 5187219"/>
              <a:gd name="connsiteX77" fmla="*/ 3251740 w 9184957"/>
              <a:gd name="connsiteY77" fmla="*/ 2938939 h 5187219"/>
              <a:gd name="connsiteX78" fmla="*/ 3246025 w 9184957"/>
              <a:gd name="connsiteY78" fmla="*/ 3409188 h 5187219"/>
              <a:gd name="connsiteX79" fmla="*/ 2984754 w 9184957"/>
              <a:gd name="connsiteY79" fmla="*/ 3802570 h 5187219"/>
              <a:gd name="connsiteX80" fmla="*/ 2746629 w 9184957"/>
              <a:gd name="connsiteY80" fmla="*/ 3403187 h 5187219"/>
              <a:gd name="connsiteX81" fmla="*/ 2746629 w 9184957"/>
              <a:gd name="connsiteY81" fmla="*/ 3118866 h 5187219"/>
              <a:gd name="connsiteX82" fmla="*/ 2642712 w 9184957"/>
              <a:gd name="connsiteY82" fmla="*/ 2948654 h 5187219"/>
              <a:gd name="connsiteX83" fmla="*/ 2642712 w 9184957"/>
              <a:gd name="connsiteY83" fmla="*/ 2548604 h 5187219"/>
              <a:gd name="connsiteX84" fmla="*/ 2397443 w 9184957"/>
              <a:gd name="connsiteY84" fmla="*/ 2133219 h 5187219"/>
              <a:gd name="connsiteX85" fmla="*/ 2899791 w 9184957"/>
              <a:gd name="connsiteY85" fmla="*/ 2133219 h 5187219"/>
              <a:gd name="connsiteX86" fmla="*/ 3168015 w 9184957"/>
              <a:gd name="connsiteY86" fmla="*/ 2554986 h 5187219"/>
              <a:gd name="connsiteX87" fmla="*/ 3011138 w 9184957"/>
              <a:gd name="connsiteY87" fmla="*/ 2791968 h 5187219"/>
              <a:gd name="connsiteX88" fmla="*/ 3011138 w 9184957"/>
              <a:gd name="connsiteY88" fmla="*/ 2837021 h 5187219"/>
              <a:gd name="connsiteX89" fmla="*/ 2849213 w 9184957"/>
              <a:gd name="connsiteY89" fmla="*/ 2837021 h 5187219"/>
              <a:gd name="connsiteX90" fmla="*/ 2849213 w 9184957"/>
              <a:gd name="connsiteY90" fmla="*/ 2743200 h 5187219"/>
              <a:gd name="connsiteX91" fmla="*/ 2975039 w 9184957"/>
              <a:gd name="connsiteY91" fmla="*/ 2552700 h 5187219"/>
              <a:gd name="connsiteX92" fmla="*/ 2810923 w 9184957"/>
              <a:gd name="connsiteY92" fmla="*/ 2294668 h 5187219"/>
              <a:gd name="connsiteX93" fmla="*/ 2681288 w 9184957"/>
              <a:gd name="connsiteY93" fmla="*/ 2294668 h 5187219"/>
              <a:gd name="connsiteX94" fmla="*/ 2805113 w 9184957"/>
              <a:gd name="connsiteY94" fmla="*/ 2504218 h 5187219"/>
              <a:gd name="connsiteX95" fmla="*/ 2805113 w 9184957"/>
              <a:gd name="connsiteY95" fmla="*/ 2903410 h 5187219"/>
              <a:gd name="connsiteX96" fmla="*/ 2909030 w 9184957"/>
              <a:gd name="connsiteY96" fmla="*/ 3073622 h 5187219"/>
              <a:gd name="connsiteX97" fmla="*/ 2909030 w 9184957"/>
              <a:gd name="connsiteY97" fmla="*/ 3359372 h 5187219"/>
              <a:gd name="connsiteX98" fmla="*/ 2992470 w 9184957"/>
              <a:gd name="connsiteY98" fmla="*/ 3499485 h 5187219"/>
              <a:gd name="connsiteX99" fmla="*/ 3084671 w 9184957"/>
              <a:gd name="connsiteY99" fmla="*/ 3359753 h 5187219"/>
              <a:gd name="connsiteX100" fmla="*/ 3090482 w 9184957"/>
              <a:gd name="connsiteY100" fmla="*/ 2889313 h 5187219"/>
              <a:gd name="connsiteX101" fmla="*/ 3300508 w 9184957"/>
              <a:gd name="connsiteY101" fmla="*/ 2574322 h 5187219"/>
              <a:gd name="connsiteX102" fmla="*/ 3011329 w 9184957"/>
              <a:gd name="connsiteY102" fmla="*/ 2089308 h 5187219"/>
              <a:gd name="connsiteX103" fmla="*/ 3011329 w 9184957"/>
              <a:gd name="connsiteY103" fmla="*/ 1774317 h 5187219"/>
              <a:gd name="connsiteX104" fmla="*/ 2963704 w 9184957"/>
              <a:gd name="connsiteY104" fmla="*/ 1711642 h 5187219"/>
              <a:gd name="connsiteX105" fmla="*/ 2938748 w 9184957"/>
              <a:gd name="connsiteY105" fmla="*/ 1711642 h 5187219"/>
              <a:gd name="connsiteX106" fmla="*/ 2787396 w 9184957"/>
              <a:gd name="connsiteY106" fmla="*/ 2008251 h 5187219"/>
              <a:gd name="connsiteX107" fmla="*/ 1243489 w 9184957"/>
              <a:gd name="connsiteY107" fmla="*/ 2007203 h 5187219"/>
              <a:gd name="connsiteX108" fmla="*/ 1170908 w 9184957"/>
              <a:gd name="connsiteY108" fmla="*/ 2068544 h 5187219"/>
              <a:gd name="connsiteX109" fmla="*/ 1086993 w 9184957"/>
              <a:gd name="connsiteY109" fmla="*/ 2069973 h 5187219"/>
              <a:gd name="connsiteX110" fmla="*/ 1034606 w 9184957"/>
              <a:gd name="connsiteY110" fmla="*/ 2000631 h 5187219"/>
              <a:gd name="connsiteX111" fmla="*/ 1029367 w 9184957"/>
              <a:gd name="connsiteY111" fmla="*/ 1750028 h 5187219"/>
              <a:gd name="connsiteX112" fmla="*/ 1293400 w 9184957"/>
              <a:gd name="connsiteY112" fmla="*/ 1249299 h 5187219"/>
              <a:gd name="connsiteX113" fmla="*/ 1548194 w 9184957"/>
              <a:gd name="connsiteY113" fmla="*/ 1249299 h 5187219"/>
              <a:gd name="connsiteX114" fmla="*/ 1717929 w 9184957"/>
              <a:gd name="connsiteY114" fmla="*/ 1565815 h 5187219"/>
              <a:gd name="connsiteX115" fmla="*/ 2408301 w 9184957"/>
              <a:gd name="connsiteY115" fmla="*/ 1565815 h 5187219"/>
              <a:gd name="connsiteX116" fmla="*/ 2596706 w 9184957"/>
              <a:gd name="connsiteY116" fmla="*/ 1235488 h 5187219"/>
              <a:gd name="connsiteX117" fmla="*/ 3206306 w 9184957"/>
              <a:gd name="connsiteY117" fmla="*/ 1238821 h 5187219"/>
              <a:gd name="connsiteX118" fmla="*/ 3454908 w 9184957"/>
              <a:gd name="connsiteY118" fmla="*/ 1603724 h 5187219"/>
              <a:gd name="connsiteX119" fmla="*/ 3444145 w 9184957"/>
              <a:gd name="connsiteY119" fmla="*/ 1890617 h 5187219"/>
              <a:gd name="connsiteX120" fmla="*/ 3714750 w 9184957"/>
              <a:gd name="connsiteY120" fmla="*/ 2334101 h 5187219"/>
              <a:gd name="connsiteX121" fmla="*/ 4231672 w 9184957"/>
              <a:gd name="connsiteY121" fmla="*/ 2336006 h 5187219"/>
              <a:gd name="connsiteX122" fmla="*/ 4025741 w 9184957"/>
              <a:gd name="connsiteY122" fmla="*/ 2683478 h 5187219"/>
              <a:gd name="connsiteX123" fmla="*/ 3736562 w 9184957"/>
              <a:gd name="connsiteY123" fmla="*/ 2684621 h 5187219"/>
              <a:gd name="connsiteX124" fmla="*/ 3531775 w 9184957"/>
              <a:gd name="connsiteY124" fmla="*/ 3028569 h 5187219"/>
              <a:gd name="connsiteX125" fmla="*/ 3528727 w 9184957"/>
              <a:gd name="connsiteY125" fmla="*/ 3475291 h 5187219"/>
              <a:gd name="connsiteX126" fmla="*/ 3169920 w 9184957"/>
              <a:gd name="connsiteY126" fmla="*/ 4049268 h 5187219"/>
              <a:gd name="connsiteX127" fmla="*/ 3169920 w 9184957"/>
              <a:gd name="connsiteY127" fmla="*/ 4234148 h 5187219"/>
              <a:gd name="connsiteX128" fmla="*/ 3056763 w 9184957"/>
              <a:gd name="connsiteY128" fmla="*/ 4421124 h 5187219"/>
              <a:gd name="connsiteX129" fmla="*/ 2914650 w 9184957"/>
              <a:gd name="connsiteY129" fmla="*/ 4421124 h 5187219"/>
              <a:gd name="connsiteX130" fmla="*/ 2746724 w 9184957"/>
              <a:gd name="connsiteY130" fmla="*/ 4202049 h 5187219"/>
              <a:gd name="connsiteX131" fmla="*/ 2746724 w 9184957"/>
              <a:gd name="connsiteY131" fmla="*/ 3940778 h 5187219"/>
              <a:gd name="connsiteX132" fmla="*/ 2494217 w 9184957"/>
              <a:gd name="connsiteY132" fmla="*/ 3518440 h 5187219"/>
              <a:gd name="connsiteX133" fmla="*/ 2494217 w 9184957"/>
              <a:gd name="connsiteY133" fmla="*/ 3271361 h 5187219"/>
              <a:gd name="connsiteX134" fmla="*/ 2353532 w 9184957"/>
              <a:gd name="connsiteY134" fmla="*/ 3029902 h 5187219"/>
              <a:gd name="connsiteX135" fmla="*/ 2353532 w 9184957"/>
              <a:gd name="connsiteY135" fmla="*/ 2622994 h 5187219"/>
              <a:gd name="connsiteX136" fmla="*/ 2177320 w 9184957"/>
              <a:gd name="connsiteY136" fmla="*/ 2302478 h 5187219"/>
              <a:gd name="connsiteX137" fmla="*/ 1388269 w 9184957"/>
              <a:gd name="connsiteY137" fmla="*/ 2302478 h 5187219"/>
              <a:gd name="connsiteX138" fmla="*/ 1284827 w 9184957"/>
              <a:gd name="connsiteY138" fmla="*/ 2437733 h 5187219"/>
              <a:gd name="connsiteX139" fmla="*/ 997744 w 9184957"/>
              <a:gd name="connsiteY139" fmla="*/ 2437733 h 5187219"/>
              <a:gd name="connsiteX140" fmla="*/ 752475 w 9184957"/>
              <a:gd name="connsiteY140" fmla="*/ 2083403 h 5187219"/>
              <a:gd name="connsiteX141" fmla="*/ 742950 w 9184957"/>
              <a:gd name="connsiteY141" fmla="*/ 1645253 h 5187219"/>
              <a:gd name="connsiteX142" fmla="*/ 1129475 w 9184957"/>
              <a:gd name="connsiteY142" fmla="*/ 960501 h 5187219"/>
              <a:gd name="connsiteX143" fmla="*/ 1679639 w 9184957"/>
              <a:gd name="connsiteY143" fmla="*/ 960501 h 5187219"/>
              <a:gd name="connsiteX144" fmla="*/ 1882521 w 9184957"/>
              <a:gd name="connsiteY144" fmla="*/ 1307306 h 5187219"/>
              <a:gd name="connsiteX145" fmla="*/ 2262569 w 9184957"/>
              <a:gd name="connsiteY145" fmla="*/ 1307306 h 5187219"/>
              <a:gd name="connsiteX146" fmla="*/ 2447354 w 9184957"/>
              <a:gd name="connsiteY146" fmla="*/ 970026 h 5187219"/>
              <a:gd name="connsiteX147" fmla="*/ 3316034 w 9184957"/>
              <a:gd name="connsiteY147" fmla="*/ 970026 h 5187219"/>
              <a:gd name="connsiteX148" fmla="*/ 3704082 w 9184957"/>
              <a:gd name="connsiteY148" fmla="*/ 1506474 h 5187219"/>
              <a:gd name="connsiteX149" fmla="*/ 3704082 w 9184957"/>
              <a:gd name="connsiteY149" fmla="*/ 1831943 h 5187219"/>
              <a:gd name="connsiteX150" fmla="*/ 3863054 w 9184957"/>
              <a:gd name="connsiteY150" fmla="*/ 2105120 h 5187219"/>
              <a:gd name="connsiteX151" fmla="*/ 4637056 w 9184957"/>
              <a:gd name="connsiteY151" fmla="*/ 2105120 h 5187219"/>
              <a:gd name="connsiteX152" fmla="*/ 4174331 w 9184957"/>
              <a:gd name="connsiteY152" fmla="*/ 2914745 h 5187219"/>
              <a:gd name="connsiteX153" fmla="*/ 3947160 w 9184957"/>
              <a:gd name="connsiteY153" fmla="*/ 2912078 h 5187219"/>
              <a:gd name="connsiteX154" fmla="*/ 3796570 w 9184957"/>
              <a:gd name="connsiteY154" fmla="*/ 3150203 h 5187219"/>
              <a:gd name="connsiteX155" fmla="*/ 3796570 w 9184957"/>
              <a:gd name="connsiteY155" fmla="*/ 3555968 h 5187219"/>
              <a:gd name="connsiteX156" fmla="*/ 3410522 w 9184957"/>
              <a:gd name="connsiteY156" fmla="*/ 4160806 h 5187219"/>
              <a:gd name="connsiteX157" fmla="*/ 3410522 w 9184957"/>
              <a:gd name="connsiteY157" fmla="*/ 4377023 h 5187219"/>
              <a:gd name="connsiteX158" fmla="*/ 3202781 w 9184957"/>
              <a:gd name="connsiteY158" fmla="*/ 4722590 h 5187219"/>
              <a:gd name="connsiteX159" fmla="*/ 2772823 w 9184957"/>
              <a:gd name="connsiteY159" fmla="*/ 4719923 h 5187219"/>
              <a:gd name="connsiteX160" fmla="*/ 2463070 w 9184957"/>
              <a:gd name="connsiteY160" fmla="*/ 4355306 h 5187219"/>
              <a:gd name="connsiteX161" fmla="*/ 2463070 w 9184957"/>
              <a:gd name="connsiteY161" fmla="*/ 4005548 h 5187219"/>
              <a:gd name="connsiteX162" fmla="*/ 2227326 w 9184957"/>
              <a:gd name="connsiteY162" fmla="*/ 3576923 h 5187219"/>
              <a:gd name="connsiteX163" fmla="*/ 2228088 w 9184957"/>
              <a:gd name="connsiteY163" fmla="*/ 3318986 h 5187219"/>
              <a:gd name="connsiteX164" fmla="*/ 2087880 w 9184957"/>
              <a:gd name="connsiteY164" fmla="*/ 3074956 h 5187219"/>
              <a:gd name="connsiteX165" fmla="*/ 2087880 w 9184957"/>
              <a:gd name="connsiteY165" fmla="*/ 2679668 h 5187219"/>
              <a:gd name="connsiteX166" fmla="*/ 2047970 w 9184957"/>
              <a:gd name="connsiteY166" fmla="*/ 2608231 h 5187219"/>
              <a:gd name="connsiteX167" fmla="*/ 1494282 w 9184957"/>
              <a:gd name="connsiteY167" fmla="*/ 2608231 h 5187219"/>
              <a:gd name="connsiteX168" fmla="*/ 1432179 w 9184957"/>
              <a:gd name="connsiteY168" fmla="*/ 2715768 h 5187219"/>
              <a:gd name="connsiteX169" fmla="*/ 835724 w 9184957"/>
              <a:gd name="connsiteY169" fmla="*/ 2715768 h 5187219"/>
              <a:gd name="connsiteX170" fmla="*/ 484442 w 9184957"/>
              <a:gd name="connsiteY170" fmla="*/ 2170081 h 5187219"/>
              <a:gd name="connsiteX171" fmla="*/ 484442 w 9184957"/>
              <a:gd name="connsiteY171" fmla="*/ 1552384 h 5187219"/>
              <a:gd name="connsiteX172" fmla="*/ 997077 w 9184957"/>
              <a:gd name="connsiteY172" fmla="*/ 691420 h 5187219"/>
              <a:gd name="connsiteX173" fmla="*/ 1845850 w 9184957"/>
              <a:gd name="connsiteY173" fmla="*/ 691420 h 5187219"/>
              <a:gd name="connsiteX174" fmla="*/ 2021967 w 9184957"/>
              <a:gd name="connsiteY174" fmla="*/ 981837 h 5187219"/>
              <a:gd name="connsiteX175" fmla="*/ 2123408 w 9184957"/>
              <a:gd name="connsiteY175" fmla="*/ 981170 h 5187219"/>
              <a:gd name="connsiteX176" fmla="*/ 2282476 w 9184957"/>
              <a:gd name="connsiteY176" fmla="*/ 691420 h 5187219"/>
              <a:gd name="connsiteX177" fmla="*/ 7313962 w 9184957"/>
              <a:gd name="connsiteY177" fmla="*/ 691420 h 518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9184957" h="5187219">
                <a:moveTo>
                  <a:pt x="0" y="0"/>
                </a:moveTo>
                <a:lnTo>
                  <a:pt x="0" y="5187220"/>
                </a:lnTo>
                <a:lnTo>
                  <a:pt x="9184957" y="5187220"/>
                </a:lnTo>
                <a:lnTo>
                  <a:pt x="9184957" y="0"/>
                </a:lnTo>
                <a:close/>
                <a:moveTo>
                  <a:pt x="7313962" y="853345"/>
                </a:moveTo>
                <a:lnTo>
                  <a:pt x="2378297" y="853345"/>
                </a:lnTo>
                <a:lnTo>
                  <a:pt x="2219325" y="1142524"/>
                </a:lnTo>
                <a:lnTo>
                  <a:pt x="1930908" y="1144429"/>
                </a:lnTo>
                <a:lnTo>
                  <a:pt x="1754600" y="853345"/>
                </a:lnTo>
                <a:lnTo>
                  <a:pt x="1089089" y="853345"/>
                </a:lnTo>
                <a:lnTo>
                  <a:pt x="646367" y="1596961"/>
                </a:lnTo>
                <a:lnTo>
                  <a:pt x="646367" y="2122456"/>
                </a:lnTo>
                <a:lnTo>
                  <a:pt x="923925" y="2553938"/>
                </a:lnTo>
                <a:lnTo>
                  <a:pt x="1338644" y="2553938"/>
                </a:lnTo>
                <a:lnTo>
                  <a:pt x="1400651" y="2446401"/>
                </a:lnTo>
                <a:lnTo>
                  <a:pt x="2143125" y="2446401"/>
                </a:lnTo>
                <a:lnTo>
                  <a:pt x="2249996" y="2637568"/>
                </a:lnTo>
                <a:lnTo>
                  <a:pt x="2249996" y="3031807"/>
                </a:lnTo>
                <a:lnTo>
                  <a:pt x="2390299" y="3276124"/>
                </a:lnTo>
                <a:lnTo>
                  <a:pt x="2389537" y="3535680"/>
                </a:lnTo>
                <a:lnTo>
                  <a:pt x="2625185" y="3964305"/>
                </a:lnTo>
                <a:lnTo>
                  <a:pt x="2625185" y="4296251"/>
                </a:lnTo>
                <a:lnTo>
                  <a:pt x="2847975" y="4558475"/>
                </a:lnTo>
                <a:lnTo>
                  <a:pt x="3111341" y="4560094"/>
                </a:lnTo>
                <a:lnTo>
                  <a:pt x="3248406" y="4332065"/>
                </a:lnTo>
                <a:lnTo>
                  <a:pt x="3248406" y="4113562"/>
                </a:lnTo>
                <a:lnTo>
                  <a:pt x="3634454" y="3508438"/>
                </a:lnTo>
                <a:lnTo>
                  <a:pt x="3634454" y="3102578"/>
                </a:lnTo>
                <a:lnTo>
                  <a:pt x="3858482" y="2749201"/>
                </a:lnTo>
                <a:lnTo>
                  <a:pt x="4080224" y="2751582"/>
                </a:lnTo>
                <a:lnTo>
                  <a:pt x="4357212" y="2267140"/>
                </a:lnTo>
                <a:lnTo>
                  <a:pt x="3769328" y="2267140"/>
                </a:lnTo>
                <a:lnTo>
                  <a:pt x="3541490" y="1875663"/>
                </a:lnTo>
                <a:lnTo>
                  <a:pt x="3541967" y="1558861"/>
                </a:lnTo>
                <a:lnTo>
                  <a:pt x="3233071" y="1132046"/>
                </a:lnTo>
                <a:lnTo>
                  <a:pt x="2543175" y="1132046"/>
                </a:lnTo>
                <a:lnTo>
                  <a:pt x="2358390" y="1469326"/>
                </a:lnTo>
                <a:lnTo>
                  <a:pt x="1789462" y="1469326"/>
                </a:lnTo>
                <a:lnTo>
                  <a:pt x="1586579" y="1122521"/>
                </a:lnTo>
                <a:lnTo>
                  <a:pt x="1223772" y="1122521"/>
                </a:lnTo>
                <a:lnTo>
                  <a:pt x="905637" y="1686211"/>
                </a:lnTo>
                <a:lnTo>
                  <a:pt x="912876" y="2030920"/>
                </a:lnTo>
                <a:lnTo>
                  <a:pt x="1082516" y="2275522"/>
                </a:lnTo>
                <a:lnTo>
                  <a:pt x="1204913" y="2275522"/>
                </a:lnTo>
                <a:lnTo>
                  <a:pt x="1308259" y="2140553"/>
                </a:lnTo>
                <a:lnTo>
                  <a:pt x="2273141" y="2140553"/>
                </a:lnTo>
                <a:lnTo>
                  <a:pt x="2515172" y="2581370"/>
                </a:lnTo>
                <a:lnTo>
                  <a:pt x="2515172" y="2986087"/>
                </a:lnTo>
                <a:lnTo>
                  <a:pt x="2655856" y="3227546"/>
                </a:lnTo>
                <a:lnTo>
                  <a:pt x="2655856" y="3474053"/>
                </a:lnTo>
                <a:lnTo>
                  <a:pt x="2908364" y="3896487"/>
                </a:lnTo>
                <a:lnTo>
                  <a:pt x="2908364" y="4147566"/>
                </a:lnTo>
                <a:lnTo>
                  <a:pt x="2978182" y="4238530"/>
                </a:lnTo>
                <a:lnTo>
                  <a:pt x="3007995" y="4189285"/>
                </a:lnTo>
                <a:lnTo>
                  <a:pt x="3007995" y="4002786"/>
                </a:lnTo>
                <a:lnTo>
                  <a:pt x="3367088" y="3428143"/>
                </a:lnTo>
                <a:lnTo>
                  <a:pt x="3370136" y="2983325"/>
                </a:lnTo>
                <a:lnTo>
                  <a:pt x="3644360" y="2522791"/>
                </a:lnTo>
                <a:lnTo>
                  <a:pt x="3933254" y="2521744"/>
                </a:lnTo>
                <a:lnTo>
                  <a:pt x="3948017" y="2496883"/>
                </a:lnTo>
                <a:lnTo>
                  <a:pt x="3623691" y="2495645"/>
                </a:lnTo>
                <a:lnTo>
                  <a:pt x="3280791" y="1932908"/>
                </a:lnTo>
                <a:lnTo>
                  <a:pt x="3291364" y="1650492"/>
                </a:lnTo>
                <a:lnTo>
                  <a:pt x="3120676" y="1399889"/>
                </a:lnTo>
                <a:lnTo>
                  <a:pt x="2690432" y="1397603"/>
                </a:lnTo>
                <a:lnTo>
                  <a:pt x="2502408" y="1727358"/>
                </a:lnTo>
                <a:lnTo>
                  <a:pt x="1621060" y="1727358"/>
                </a:lnTo>
                <a:lnTo>
                  <a:pt x="1451229" y="1410843"/>
                </a:lnTo>
                <a:lnTo>
                  <a:pt x="1390650" y="1410843"/>
                </a:lnTo>
                <a:lnTo>
                  <a:pt x="1192149" y="1788128"/>
                </a:lnTo>
                <a:lnTo>
                  <a:pt x="1193292" y="1845278"/>
                </a:lnTo>
                <a:lnTo>
                  <a:pt x="2688717" y="1846135"/>
                </a:lnTo>
                <a:lnTo>
                  <a:pt x="2839688" y="1550003"/>
                </a:lnTo>
                <a:lnTo>
                  <a:pt x="3044190" y="1550003"/>
                </a:lnTo>
                <a:lnTo>
                  <a:pt x="3173254" y="1720120"/>
                </a:lnTo>
                <a:lnTo>
                  <a:pt x="3173254" y="2044922"/>
                </a:lnTo>
                <a:lnTo>
                  <a:pt x="3491865" y="2578703"/>
                </a:lnTo>
                <a:lnTo>
                  <a:pt x="3251740" y="2938939"/>
                </a:lnTo>
                <a:lnTo>
                  <a:pt x="3246025" y="3409188"/>
                </a:lnTo>
                <a:lnTo>
                  <a:pt x="2984754" y="3802570"/>
                </a:lnTo>
                <a:lnTo>
                  <a:pt x="2746629" y="3403187"/>
                </a:lnTo>
                <a:lnTo>
                  <a:pt x="2746629" y="3118866"/>
                </a:lnTo>
                <a:lnTo>
                  <a:pt x="2642712" y="2948654"/>
                </a:lnTo>
                <a:lnTo>
                  <a:pt x="2642712" y="2548604"/>
                </a:lnTo>
                <a:lnTo>
                  <a:pt x="2397443" y="2133219"/>
                </a:lnTo>
                <a:lnTo>
                  <a:pt x="2899791" y="2133219"/>
                </a:lnTo>
                <a:lnTo>
                  <a:pt x="3168015" y="2554986"/>
                </a:lnTo>
                <a:lnTo>
                  <a:pt x="3011138" y="2791968"/>
                </a:lnTo>
                <a:lnTo>
                  <a:pt x="3011138" y="2837021"/>
                </a:lnTo>
                <a:lnTo>
                  <a:pt x="2849213" y="2837021"/>
                </a:lnTo>
                <a:lnTo>
                  <a:pt x="2849213" y="2743200"/>
                </a:lnTo>
                <a:lnTo>
                  <a:pt x="2975039" y="2552700"/>
                </a:lnTo>
                <a:lnTo>
                  <a:pt x="2810923" y="2294668"/>
                </a:lnTo>
                <a:lnTo>
                  <a:pt x="2681288" y="2294668"/>
                </a:lnTo>
                <a:lnTo>
                  <a:pt x="2805113" y="2504218"/>
                </a:lnTo>
                <a:lnTo>
                  <a:pt x="2805113" y="2903410"/>
                </a:lnTo>
                <a:lnTo>
                  <a:pt x="2909030" y="3073622"/>
                </a:lnTo>
                <a:lnTo>
                  <a:pt x="2909030" y="3359372"/>
                </a:lnTo>
                <a:lnTo>
                  <a:pt x="2992470" y="3499485"/>
                </a:lnTo>
                <a:lnTo>
                  <a:pt x="3084671" y="3359753"/>
                </a:lnTo>
                <a:lnTo>
                  <a:pt x="3090482" y="2889313"/>
                </a:lnTo>
                <a:lnTo>
                  <a:pt x="3300508" y="2574322"/>
                </a:lnTo>
                <a:lnTo>
                  <a:pt x="3011329" y="2089308"/>
                </a:lnTo>
                <a:lnTo>
                  <a:pt x="3011329" y="1774317"/>
                </a:lnTo>
                <a:lnTo>
                  <a:pt x="2963704" y="1711642"/>
                </a:lnTo>
                <a:lnTo>
                  <a:pt x="2938748" y="1711642"/>
                </a:lnTo>
                <a:lnTo>
                  <a:pt x="2787396" y="2008251"/>
                </a:lnTo>
                <a:lnTo>
                  <a:pt x="1243489" y="2007203"/>
                </a:lnTo>
                <a:lnTo>
                  <a:pt x="1170908" y="2068544"/>
                </a:lnTo>
                <a:lnTo>
                  <a:pt x="1086993" y="2069973"/>
                </a:lnTo>
                <a:lnTo>
                  <a:pt x="1034606" y="2000631"/>
                </a:lnTo>
                <a:lnTo>
                  <a:pt x="1029367" y="1750028"/>
                </a:lnTo>
                <a:lnTo>
                  <a:pt x="1293400" y="1249299"/>
                </a:lnTo>
                <a:lnTo>
                  <a:pt x="1548194" y="1249299"/>
                </a:lnTo>
                <a:lnTo>
                  <a:pt x="1717929" y="1565815"/>
                </a:lnTo>
                <a:lnTo>
                  <a:pt x="2408301" y="1565815"/>
                </a:lnTo>
                <a:lnTo>
                  <a:pt x="2596706" y="1235488"/>
                </a:lnTo>
                <a:lnTo>
                  <a:pt x="3206306" y="1238821"/>
                </a:lnTo>
                <a:lnTo>
                  <a:pt x="3454908" y="1603724"/>
                </a:lnTo>
                <a:lnTo>
                  <a:pt x="3444145" y="1890617"/>
                </a:lnTo>
                <a:lnTo>
                  <a:pt x="3714750" y="2334101"/>
                </a:lnTo>
                <a:lnTo>
                  <a:pt x="4231672" y="2336006"/>
                </a:lnTo>
                <a:lnTo>
                  <a:pt x="4025741" y="2683478"/>
                </a:lnTo>
                <a:lnTo>
                  <a:pt x="3736562" y="2684621"/>
                </a:lnTo>
                <a:lnTo>
                  <a:pt x="3531775" y="3028569"/>
                </a:lnTo>
                <a:lnTo>
                  <a:pt x="3528727" y="3475291"/>
                </a:lnTo>
                <a:lnTo>
                  <a:pt x="3169920" y="4049268"/>
                </a:lnTo>
                <a:lnTo>
                  <a:pt x="3169920" y="4234148"/>
                </a:lnTo>
                <a:lnTo>
                  <a:pt x="3056763" y="4421124"/>
                </a:lnTo>
                <a:lnTo>
                  <a:pt x="2914650" y="4421124"/>
                </a:lnTo>
                <a:lnTo>
                  <a:pt x="2746724" y="4202049"/>
                </a:lnTo>
                <a:lnTo>
                  <a:pt x="2746724" y="3940778"/>
                </a:lnTo>
                <a:lnTo>
                  <a:pt x="2494217" y="3518440"/>
                </a:lnTo>
                <a:lnTo>
                  <a:pt x="2494217" y="3271361"/>
                </a:lnTo>
                <a:lnTo>
                  <a:pt x="2353532" y="3029902"/>
                </a:lnTo>
                <a:lnTo>
                  <a:pt x="2353532" y="2622994"/>
                </a:lnTo>
                <a:lnTo>
                  <a:pt x="2177320" y="2302478"/>
                </a:lnTo>
                <a:lnTo>
                  <a:pt x="1388269" y="2302478"/>
                </a:lnTo>
                <a:lnTo>
                  <a:pt x="1284827" y="2437733"/>
                </a:lnTo>
                <a:lnTo>
                  <a:pt x="997744" y="2437733"/>
                </a:lnTo>
                <a:lnTo>
                  <a:pt x="752475" y="2083403"/>
                </a:lnTo>
                <a:lnTo>
                  <a:pt x="742950" y="1645253"/>
                </a:lnTo>
                <a:lnTo>
                  <a:pt x="1129475" y="960501"/>
                </a:lnTo>
                <a:lnTo>
                  <a:pt x="1679639" y="960501"/>
                </a:lnTo>
                <a:lnTo>
                  <a:pt x="1882521" y="1307306"/>
                </a:lnTo>
                <a:lnTo>
                  <a:pt x="2262569" y="1307306"/>
                </a:lnTo>
                <a:lnTo>
                  <a:pt x="2447354" y="970026"/>
                </a:lnTo>
                <a:lnTo>
                  <a:pt x="3316034" y="970026"/>
                </a:lnTo>
                <a:lnTo>
                  <a:pt x="3704082" y="1506474"/>
                </a:lnTo>
                <a:lnTo>
                  <a:pt x="3704082" y="1831943"/>
                </a:lnTo>
                <a:lnTo>
                  <a:pt x="3863054" y="2105120"/>
                </a:lnTo>
                <a:lnTo>
                  <a:pt x="4637056" y="2105120"/>
                </a:lnTo>
                <a:lnTo>
                  <a:pt x="4174331" y="2914745"/>
                </a:lnTo>
                <a:lnTo>
                  <a:pt x="3947160" y="2912078"/>
                </a:lnTo>
                <a:lnTo>
                  <a:pt x="3796570" y="3150203"/>
                </a:lnTo>
                <a:lnTo>
                  <a:pt x="3796570" y="3555968"/>
                </a:lnTo>
                <a:lnTo>
                  <a:pt x="3410522" y="4160806"/>
                </a:lnTo>
                <a:lnTo>
                  <a:pt x="3410522" y="4377023"/>
                </a:lnTo>
                <a:lnTo>
                  <a:pt x="3202781" y="4722590"/>
                </a:lnTo>
                <a:lnTo>
                  <a:pt x="2772823" y="4719923"/>
                </a:lnTo>
                <a:lnTo>
                  <a:pt x="2463070" y="4355306"/>
                </a:lnTo>
                <a:lnTo>
                  <a:pt x="2463070" y="4005548"/>
                </a:lnTo>
                <a:lnTo>
                  <a:pt x="2227326" y="3576923"/>
                </a:lnTo>
                <a:lnTo>
                  <a:pt x="2228088" y="3318986"/>
                </a:lnTo>
                <a:lnTo>
                  <a:pt x="2087880" y="3074956"/>
                </a:lnTo>
                <a:lnTo>
                  <a:pt x="2087880" y="2679668"/>
                </a:lnTo>
                <a:lnTo>
                  <a:pt x="2047970" y="2608231"/>
                </a:lnTo>
                <a:lnTo>
                  <a:pt x="1494282" y="2608231"/>
                </a:lnTo>
                <a:lnTo>
                  <a:pt x="1432179" y="2715768"/>
                </a:lnTo>
                <a:lnTo>
                  <a:pt x="835724" y="2715768"/>
                </a:lnTo>
                <a:lnTo>
                  <a:pt x="484442" y="2170081"/>
                </a:lnTo>
                <a:lnTo>
                  <a:pt x="484442" y="1552384"/>
                </a:lnTo>
                <a:lnTo>
                  <a:pt x="997077" y="691420"/>
                </a:lnTo>
                <a:lnTo>
                  <a:pt x="1845850" y="691420"/>
                </a:lnTo>
                <a:lnTo>
                  <a:pt x="2021967" y="981837"/>
                </a:lnTo>
                <a:lnTo>
                  <a:pt x="2123408" y="981170"/>
                </a:lnTo>
                <a:lnTo>
                  <a:pt x="2282476" y="691420"/>
                </a:lnTo>
                <a:lnTo>
                  <a:pt x="7313962" y="691420"/>
                </a:lnTo>
                <a:close/>
              </a:path>
            </a:pathLst>
          </a:custGeom>
          <a:solidFill>
            <a:schemeClr val="tx1">
              <a:alpha val="59499"/>
            </a:schemeClr>
          </a:solidFill>
          <a:ln w="9525" cap="flat">
            <a:noFill/>
            <a:prstDash val="solid"/>
            <a:miter/>
          </a:ln>
        </p:spPr>
        <p:txBody>
          <a:bodyPr rtlCol="0" anchor="ctr"/>
          <a:lstStyle/>
          <a:p>
            <a:endParaRPr lang="en-US"/>
          </a:p>
        </p:txBody>
      </p:sp>
      <p:sp>
        <p:nvSpPr>
          <p:cNvPr id="169" name="Title 520">
            <a:extLst>
              <a:ext uri="{FF2B5EF4-FFF2-40B4-BE49-F238E27FC236}">
                <a16:creationId xmlns:a16="http://schemas.microsoft.com/office/drawing/2014/main" id="{5B4F7F9B-D2FA-5CC1-9CAE-52E03FB090E2}"/>
              </a:ext>
            </a:extLst>
          </p:cNvPr>
          <p:cNvSpPr>
            <a:spLocks noGrp="1"/>
          </p:cNvSpPr>
          <p:nvPr>
            <p:ph type="title"/>
          </p:nvPr>
        </p:nvSpPr>
        <p:spPr>
          <a:xfrm>
            <a:off x="5355771" y="1155310"/>
            <a:ext cx="4363624" cy="875371"/>
          </a:xfrm>
        </p:spPr>
        <p:txBody>
          <a:bodyPr/>
          <a:lstStyle/>
          <a:p>
            <a:pPr algn="r"/>
            <a:r>
              <a:rPr lang="en-US" sz="4000">
                <a:solidFill>
                  <a:schemeClr val="bg1"/>
                </a:solidFill>
              </a:rPr>
              <a:t>Thank you</a:t>
            </a:r>
            <a:endParaRPr lang="en-US" sz="4000"/>
          </a:p>
        </p:txBody>
      </p:sp>
      <p:grpSp>
        <p:nvGrpSpPr>
          <p:cNvPr id="170" name="Group 169">
            <a:extLst>
              <a:ext uri="{FF2B5EF4-FFF2-40B4-BE49-F238E27FC236}">
                <a16:creationId xmlns:a16="http://schemas.microsoft.com/office/drawing/2014/main" id="{186CB910-7EB6-DA28-6C7E-C2A393051A75}"/>
              </a:ext>
            </a:extLst>
          </p:cNvPr>
          <p:cNvGrpSpPr/>
          <p:nvPr/>
        </p:nvGrpSpPr>
        <p:grpSpPr>
          <a:xfrm>
            <a:off x="10366157" y="571622"/>
            <a:ext cx="1394705" cy="948396"/>
            <a:chOff x="10366157" y="302263"/>
            <a:chExt cx="1394705" cy="948396"/>
          </a:xfrm>
        </p:grpSpPr>
        <p:sp>
          <p:nvSpPr>
            <p:cNvPr id="171" name="object 28">
              <a:extLst>
                <a:ext uri="{FF2B5EF4-FFF2-40B4-BE49-F238E27FC236}">
                  <a16:creationId xmlns:a16="http://schemas.microsoft.com/office/drawing/2014/main" id="{C4275BAE-D3F8-2B1B-5B74-B57C95E8A424}"/>
                </a:ext>
              </a:extLst>
            </p:cNvPr>
            <p:cNvSpPr/>
            <p:nvPr/>
          </p:nvSpPr>
          <p:spPr>
            <a:xfrm>
              <a:off x="10366157" y="638781"/>
              <a:ext cx="370938" cy="214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
                  </a:lnTo>
                  <a:lnTo>
                    <a:pt x="7201" y="21600"/>
                  </a:lnTo>
                  <a:lnTo>
                    <a:pt x="14400" y="21600"/>
                  </a:lnTo>
                  <a:lnTo>
                    <a:pt x="21600" y="0"/>
                  </a:lnTo>
                  <a:close/>
                </a:path>
              </a:pathLst>
            </a:custGeom>
            <a:solidFill>
              <a:srgbClr val="85BD3E"/>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2" name="object 29">
              <a:extLst>
                <a:ext uri="{FF2B5EF4-FFF2-40B4-BE49-F238E27FC236}">
                  <a16:creationId xmlns:a16="http://schemas.microsoft.com/office/drawing/2014/main" id="{89ABC2F3-BE30-EAB2-AC94-08EC471D47ED}"/>
                </a:ext>
              </a:extLst>
            </p:cNvPr>
            <p:cNvSpPr/>
            <p:nvPr/>
          </p:nvSpPr>
          <p:spPr>
            <a:xfrm>
              <a:off x="10595698" y="638779"/>
              <a:ext cx="706747" cy="611880"/>
            </a:xfrm>
            <a:custGeom>
              <a:avLst/>
              <a:gdLst/>
              <a:ahLst/>
              <a:cxnLst>
                <a:cxn ang="0">
                  <a:pos x="wd2" y="hd2"/>
                </a:cxn>
                <a:cxn ang="5400000">
                  <a:pos x="wd2" y="hd2"/>
                </a:cxn>
                <a:cxn ang="10800000">
                  <a:pos x="wd2" y="hd2"/>
                </a:cxn>
                <a:cxn ang="16200000">
                  <a:pos x="wd2" y="hd2"/>
                </a:cxn>
              </a:cxnLst>
              <a:rect l="0" t="0" r="r" b="b"/>
              <a:pathLst>
                <a:path w="21600" h="21600" extrusionOk="0">
                  <a:moveTo>
                    <a:pt x="17818" y="0"/>
                  </a:moveTo>
                  <a:lnTo>
                    <a:pt x="7021" y="1"/>
                  </a:lnTo>
                  <a:lnTo>
                    <a:pt x="0" y="14036"/>
                  </a:lnTo>
                  <a:lnTo>
                    <a:pt x="3782" y="21600"/>
                  </a:lnTo>
                  <a:lnTo>
                    <a:pt x="10800" y="7560"/>
                  </a:lnTo>
                  <a:lnTo>
                    <a:pt x="21600" y="7560"/>
                  </a:lnTo>
                  <a:lnTo>
                    <a:pt x="1781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nvGrpSpPr>
            <p:cNvPr id="173" name="object 30">
              <a:extLst>
                <a:ext uri="{FF2B5EF4-FFF2-40B4-BE49-F238E27FC236}">
                  <a16:creationId xmlns:a16="http://schemas.microsoft.com/office/drawing/2014/main" id="{47796B55-483E-551F-F4E8-62C119887CCA}"/>
                </a:ext>
              </a:extLst>
            </p:cNvPr>
            <p:cNvGrpSpPr/>
            <p:nvPr/>
          </p:nvGrpSpPr>
          <p:grpSpPr>
            <a:xfrm>
              <a:off x="10674915" y="302263"/>
              <a:ext cx="1085947" cy="122368"/>
              <a:chOff x="-1" y="-1"/>
              <a:chExt cx="1085945" cy="122366"/>
            </a:xfrm>
          </p:grpSpPr>
          <p:sp>
            <p:nvSpPr>
              <p:cNvPr id="174" name="Shape">
                <a:extLst>
                  <a:ext uri="{FF2B5EF4-FFF2-40B4-BE49-F238E27FC236}">
                    <a16:creationId xmlns:a16="http://schemas.microsoft.com/office/drawing/2014/main" id="{366D1129-9C0A-EEDF-B00E-73BF8B73B2CC}"/>
                  </a:ext>
                </a:extLst>
              </p:cNvPr>
              <p:cNvSpPr/>
              <p:nvPr/>
            </p:nvSpPr>
            <p:spPr>
              <a:xfrm>
                <a:off x="126364" y="0"/>
                <a:ext cx="106113" cy="122366"/>
              </a:xfrm>
              <a:custGeom>
                <a:avLst/>
                <a:gdLst/>
                <a:ahLst/>
                <a:cxnLst>
                  <a:cxn ang="0">
                    <a:pos x="wd2" y="hd2"/>
                  </a:cxn>
                  <a:cxn ang="5400000">
                    <a:pos x="wd2" y="hd2"/>
                  </a:cxn>
                  <a:cxn ang="10800000">
                    <a:pos x="wd2" y="hd2"/>
                  </a:cxn>
                  <a:cxn ang="16200000">
                    <a:pos x="wd2" y="hd2"/>
                  </a:cxn>
                </a:cxnLst>
                <a:rect l="0" t="0" r="r" b="b"/>
                <a:pathLst>
                  <a:path w="21600" h="21600" extrusionOk="0">
                    <a:moveTo>
                      <a:pt x="14785" y="0"/>
                    </a:moveTo>
                    <a:lnTo>
                      <a:pt x="0" y="0"/>
                    </a:lnTo>
                    <a:lnTo>
                      <a:pt x="0" y="21600"/>
                    </a:lnTo>
                    <a:lnTo>
                      <a:pt x="6229" y="21600"/>
                    </a:lnTo>
                    <a:lnTo>
                      <a:pt x="6229" y="13166"/>
                    </a:lnTo>
                    <a:lnTo>
                      <a:pt x="19299" y="13166"/>
                    </a:lnTo>
                    <a:lnTo>
                      <a:pt x="18631" y="12161"/>
                    </a:lnTo>
                    <a:lnTo>
                      <a:pt x="19931" y="11209"/>
                    </a:lnTo>
                    <a:lnTo>
                      <a:pt x="20931" y="10011"/>
                    </a:lnTo>
                    <a:lnTo>
                      <a:pt x="21573" y="8618"/>
                    </a:lnTo>
                    <a:lnTo>
                      <a:pt x="21600" y="8438"/>
                    </a:lnTo>
                    <a:lnTo>
                      <a:pt x="6229" y="8438"/>
                    </a:lnTo>
                    <a:lnTo>
                      <a:pt x="6229" y="4726"/>
                    </a:lnTo>
                    <a:lnTo>
                      <a:pt x="21473" y="4726"/>
                    </a:lnTo>
                    <a:lnTo>
                      <a:pt x="21240" y="3716"/>
                    </a:lnTo>
                    <a:lnTo>
                      <a:pt x="19741" y="1782"/>
                    </a:lnTo>
                    <a:lnTo>
                      <a:pt x="17515" y="478"/>
                    </a:lnTo>
                    <a:lnTo>
                      <a:pt x="14785"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5" name="Shape">
                <a:extLst>
                  <a:ext uri="{FF2B5EF4-FFF2-40B4-BE49-F238E27FC236}">
                    <a16:creationId xmlns:a16="http://schemas.microsoft.com/office/drawing/2014/main" id="{AEBD4148-9FFD-8C63-B6B7-40C63E6382A2}"/>
                  </a:ext>
                </a:extLst>
              </p:cNvPr>
              <p:cNvSpPr/>
              <p:nvPr/>
            </p:nvSpPr>
            <p:spPr>
              <a:xfrm>
                <a:off x="190118" y="74581"/>
                <a:ext cx="58626" cy="47785"/>
              </a:xfrm>
              <a:custGeom>
                <a:avLst/>
                <a:gdLst/>
                <a:ahLst/>
                <a:cxnLst>
                  <a:cxn ang="0">
                    <a:pos x="wd2" y="hd2"/>
                  </a:cxn>
                  <a:cxn ang="5400000">
                    <a:pos x="wd2" y="hd2"/>
                  </a:cxn>
                  <a:cxn ang="10800000">
                    <a:pos x="wd2" y="hd2"/>
                  </a:cxn>
                  <a:cxn ang="16200000">
                    <a:pos x="wd2" y="hd2"/>
                  </a:cxn>
                </a:cxnLst>
                <a:rect l="0" t="0" r="r" b="b"/>
                <a:pathLst>
                  <a:path w="21600" h="21600" extrusionOk="0">
                    <a:moveTo>
                      <a:pt x="11441" y="0"/>
                    </a:moveTo>
                    <a:lnTo>
                      <a:pt x="0" y="0"/>
                    </a:lnTo>
                    <a:lnTo>
                      <a:pt x="10166" y="21600"/>
                    </a:lnTo>
                    <a:lnTo>
                      <a:pt x="21600" y="21600"/>
                    </a:lnTo>
                    <a:lnTo>
                      <a:pt x="1144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6" name="Shape">
                <a:extLst>
                  <a:ext uri="{FF2B5EF4-FFF2-40B4-BE49-F238E27FC236}">
                    <a16:creationId xmlns:a16="http://schemas.microsoft.com/office/drawing/2014/main" id="{5D340E34-4B98-B39A-0427-7DAF81556734}"/>
                  </a:ext>
                </a:extLst>
              </p:cNvPr>
              <p:cNvSpPr/>
              <p:nvPr/>
            </p:nvSpPr>
            <p:spPr>
              <a:xfrm>
                <a:off x="248741" y="0"/>
                <a:ext cx="141120" cy="122366"/>
              </a:xfrm>
              <a:custGeom>
                <a:avLst/>
                <a:gdLst/>
                <a:ahLst/>
                <a:cxnLst>
                  <a:cxn ang="0">
                    <a:pos x="wd2" y="hd2"/>
                  </a:cxn>
                  <a:cxn ang="5400000">
                    <a:pos x="wd2" y="hd2"/>
                  </a:cxn>
                  <a:cxn ang="10800000">
                    <a:pos x="wd2" y="hd2"/>
                  </a:cxn>
                  <a:cxn ang="16200000">
                    <a:pos x="wd2" y="hd2"/>
                  </a:cxn>
                </a:cxnLst>
                <a:rect l="0" t="0" r="r" b="b"/>
                <a:pathLst>
                  <a:path w="21600" h="21600" extrusionOk="0">
                    <a:moveTo>
                      <a:pt x="14478" y="0"/>
                    </a:moveTo>
                    <a:lnTo>
                      <a:pt x="9494" y="0"/>
                    </a:lnTo>
                    <a:lnTo>
                      <a:pt x="0" y="21600"/>
                    </a:lnTo>
                    <a:lnTo>
                      <a:pt x="4983" y="21600"/>
                    </a:lnTo>
                    <a:lnTo>
                      <a:pt x="7355" y="16201"/>
                    </a:lnTo>
                    <a:lnTo>
                      <a:pt x="21600" y="16201"/>
                    </a:lnTo>
                    <a:lnTo>
                      <a:pt x="19522" y="11473"/>
                    </a:lnTo>
                    <a:lnTo>
                      <a:pt x="9433" y="11473"/>
                    </a:lnTo>
                    <a:lnTo>
                      <a:pt x="11985" y="5662"/>
                    </a:lnTo>
                    <a:lnTo>
                      <a:pt x="16967" y="5662"/>
                    </a:lnTo>
                    <a:lnTo>
                      <a:pt x="1447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7" name="Shape">
                <a:extLst>
                  <a:ext uri="{FF2B5EF4-FFF2-40B4-BE49-F238E27FC236}">
                    <a16:creationId xmlns:a16="http://schemas.microsoft.com/office/drawing/2014/main" id="{D49EFE32-4989-6E0F-077E-1621CC1CF63E}"/>
                  </a:ext>
                </a:extLst>
              </p:cNvPr>
              <p:cNvSpPr/>
              <p:nvPr/>
            </p:nvSpPr>
            <p:spPr>
              <a:xfrm>
                <a:off x="357308" y="91776"/>
                <a:ext cx="48059" cy="30590"/>
              </a:xfrm>
              <a:custGeom>
                <a:avLst/>
                <a:gdLst/>
                <a:ahLst/>
                <a:cxnLst>
                  <a:cxn ang="0">
                    <a:pos x="wd2" y="hd2"/>
                  </a:cxn>
                  <a:cxn ang="5400000">
                    <a:pos x="wd2" y="hd2"/>
                  </a:cxn>
                  <a:cxn ang="10800000">
                    <a:pos x="wd2" y="hd2"/>
                  </a:cxn>
                  <a:cxn ang="16200000">
                    <a:pos x="wd2" y="hd2"/>
                  </a:cxn>
                </a:cxnLst>
                <a:rect l="0" t="0" r="r" b="b"/>
                <a:pathLst>
                  <a:path w="21600" h="21600" extrusionOk="0">
                    <a:moveTo>
                      <a:pt x="14631" y="0"/>
                    </a:moveTo>
                    <a:lnTo>
                      <a:pt x="0" y="0"/>
                    </a:lnTo>
                    <a:lnTo>
                      <a:pt x="6970" y="21600"/>
                    </a:lnTo>
                    <a:lnTo>
                      <a:pt x="21600" y="21600"/>
                    </a:lnTo>
                    <a:lnTo>
                      <a:pt x="1463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8" name="Shape">
                <a:extLst>
                  <a:ext uri="{FF2B5EF4-FFF2-40B4-BE49-F238E27FC236}">
                    <a16:creationId xmlns:a16="http://schemas.microsoft.com/office/drawing/2014/main" id="{6650A60D-6476-C84B-08D3-B37EDB2F6952}"/>
                  </a:ext>
                </a:extLst>
              </p:cNvPr>
              <p:cNvSpPr/>
              <p:nvPr/>
            </p:nvSpPr>
            <p:spPr>
              <a:xfrm>
                <a:off x="199408" y="26769"/>
                <a:ext cx="34052" cy="21032"/>
              </a:xfrm>
              <a:custGeom>
                <a:avLst/>
                <a:gdLst/>
                <a:ahLst/>
                <a:cxnLst>
                  <a:cxn ang="0">
                    <a:pos x="wd2" y="hd2"/>
                  </a:cxn>
                  <a:cxn ang="5400000">
                    <a:pos x="wd2" y="hd2"/>
                  </a:cxn>
                  <a:cxn ang="10800000">
                    <a:pos x="wd2" y="hd2"/>
                  </a:cxn>
                  <a:cxn ang="16200000">
                    <a:pos x="wd2" y="hd2"/>
                  </a:cxn>
                </a:cxnLst>
                <a:rect l="0" t="0" r="r" b="b"/>
                <a:pathLst>
                  <a:path w="21600" h="21600" extrusionOk="0">
                    <a:moveTo>
                      <a:pt x="20582" y="0"/>
                    </a:moveTo>
                    <a:lnTo>
                      <a:pt x="0" y="0"/>
                    </a:lnTo>
                    <a:lnTo>
                      <a:pt x="2183" y="3554"/>
                    </a:lnTo>
                    <a:lnTo>
                      <a:pt x="2232" y="18065"/>
                    </a:lnTo>
                    <a:lnTo>
                      <a:pt x="36" y="21600"/>
                    </a:lnTo>
                    <a:lnTo>
                      <a:pt x="20976" y="21600"/>
                    </a:lnTo>
                    <a:lnTo>
                      <a:pt x="21600" y="13689"/>
                    </a:lnTo>
                    <a:lnTo>
                      <a:pt x="21563" y="7911"/>
                    </a:lnTo>
                    <a:lnTo>
                      <a:pt x="20582"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79" name="Shape">
                <a:extLst>
                  <a:ext uri="{FF2B5EF4-FFF2-40B4-BE49-F238E27FC236}">
                    <a16:creationId xmlns:a16="http://schemas.microsoft.com/office/drawing/2014/main" id="{1E154D22-53C0-EA63-1655-A1FF7D6544BE}"/>
                  </a:ext>
                </a:extLst>
              </p:cNvPr>
              <p:cNvSpPr/>
              <p:nvPr/>
            </p:nvSpPr>
            <p:spPr>
              <a:xfrm>
                <a:off x="860477" y="0"/>
                <a:ext cx="99420" cy="12236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lnTo>
                      <a:pt x="21600" y="16872"/>
                    </a:lnTo>
                    <a:lnTo>
                      <a:pt x="6642" y="16872"/>
                    </a:lnTo>
                    <a:lnTo>
                      <a:pt x="6642" y="13163"/>
                    </a:lnTo>
                    <a:lnTo>
                      <a:pt x="20774" y="13163"/>
                    </a:lnTo>
                    <a:lnTo>
                      <a:pt x="20774" y="8435"/>
                    </a:lnTo>
                    <a:lnTo>
                      <a:pt x="6642" y="8435"/>
                    </a:lnTo>
                    <a:lnTo>
                      <a:pt x="6642" y="4724"/>
                    </a:lnTo>
                    <a:lnTo>
                      <a:pt x="21600" y="4724"/>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0" name="Shape">
                <a:extLst>
                  <a:ext uri="{FF2B5EF4-FFF2-40B4-BE49-F238E27FC236}">
                    <a16:creationId xmlns:a16="http://schemas.microsoft.com/office/drawing/2014/main" id="{3453F9CF-22AD-6A75-55D2-CB224D3F4757}"/>
                  </a:ext>
                </a:extLst>
              </p:cNvPr>
              <p:cNvSpPr/>
              <p:nvPr/>
            </p:nvSpPr>
            <p:spPr>
              <a:xfrm>
                <a:off x="565996" y="91280"/>
                <a:ext cx="112964" cy="30852"/>
              </a:xfrm>
              <a:custGeom>
                <a:avLst/>
                <a:gdLst/>
                <a:ahLst/>
                <a:cxnLst>
                  <a:cxn ang="0">
                    <a:pos x="wd2" y="hd2"/>
                  </a:cxn>
                  <a:cxn ang="5400000">
                    <a:pos x="wd2" y="hd2"/>
                  </a:cxn>
                  <a:cxn ang="10800000">
                    <a:pos x="wd2" y="hd2"/>
                  </a:cxn>
                  <a:cxn ang="16200000">
                    <a:pos x="wd2" y="hd2"/>
                  </a:cxn>
                </a:cxnLst>
                <a:rect l="0" t="0" r="r" b="b"/>
                <a:pathLst>
                  <a:path w="21600" h="21600" extrusionOk="0">
                    <a:moveTo>
                      <a:pt x="2567" y="0"/>
                    </a:moveTo>
                    <a:lnTo>
                      <a:pt x="0" y="16251"/>
                    </a:lnTo>
                    <a:lnTo>
                      <a:pt x="1542" y="18512"/>
                    </a:lnTo>
                    <a:lnTo>
                      <a:pt x="3155" y="20188"/>
                    </a:lnTo>
                    <a:lnTo>
                      <a:pt x="4833" y="21232"/>
                    </a:lnTo>
                    <a:lnTo>
                      <a:pt x="6569" y="21600"/>
                    </a:lnTo>
                    <a:lnTo>
                      <a:pt x="15330" y="21591"/>
                    </a:lnTo>
                    <a:lnTo>
                      <a:pt x="17889" y="19698"/>
                    </a:lnTo>
                    <a:lnTo>
                      <a:pt x="19976" y="14534"/>
                    </a:lnTo>
                    <a:lnTo>
                      <a:pt x="21381" y="6876"/>
                    </a:lnTo>
                    <a:lnTo>
                      <a:pt x="21600" y="2890"/>
                    </a:lnTo>
                    <a:lnTo>
                      <a:pt x="6569" y="2890"/>
                    </a:lnTo>
                    <a:lnTo>
                      <a:pt x="5519" y="2695"/>
                    </a:lnTo>
                    <a:lnTo>
                      <a:pt x="4498" y="2135"/>
                    </a:lnTo>
                    <a:lnTo>
                      <a:pt x="3512" y="1231"/>
                    </a:lnTo>
                    <a:lnTo>
                      <a:pt x="2567"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1" name="Shape">
                <a:extLst>
                  <a:ext uri="{FF2B5EF4-FFF2-40B4-BE49-F238E27FC236}">
                    <a16:creationId xmlns:a16="http://schemas.microsoft.com/office/drawing/2014/main" id="{01473887-0E14-7E3E-8D9C-4DFBE4DF213C}"/>
                  </a:ext>
                </a:extLst>
              </p:cNvPr>
              <p:cNvSpPr/>
              <p:nvPr/>
            </p:nvSpPr>
            <p:spPr>
              <a:xfrm>
                <a:off x="565996" y="-2"/>
                <a:ext cx="114512" cy="95413"/>
              </a:xfrm>
              <a:custGeom>
                <a:avLst/>
                <a:gdLst/>
                <a:ahLst/>
                <a:cxnLst>
                  <a:cxn ang="0">
                    <a:pos x="wd2" y="hd2"/>
                  </a:cxn>
                  <a:cxn ang="5400000">
                    <a:pos x="wd2" y="hd2"/>
                  </a:cxn>
                  <a:cxn ang="10800000">
                    <a:pos x="wd2" y="hd2"/>
                  </a:cxn>
                  <a:cxn ang="16200000">
                    <a:pos x="wd2" y="hd2"/>
                  </a:cxn>
                </a:cxnLst>
                <a:rect l="0" t="0" r="r" b="b"/>
                <a:pathLst>
                  <a:path w="21600" h="21600" extrusionOk="0">
                    <a:moveTo>
                      <a:pt x="15119" y="0"/>
                    </a:moveTo>
                    <a:lnTo>
                      <a:pt x="6480" y="0"/>
                    </a:lnTo>
                    <a:lnTo>
                      <a:pt x="3954" y="612"/>
                    </a:lnTo>
                    <a:lnTo>
                      <a:pt x="1895" y="2280"/>
                    </a:lnTo>
                    <a:lnTo>
                      <a:pt x="508" y="4756"/>
                    </a:lnTo>
                    <a:lnTo>
                      <a:pt x="0" y="7790"/>
                    </a:lnTo>
                    <a:lnTo>
                      <a:pt x="0" y="9056"/>
                    </a:lnTo>
                    <a:lnTo>
                      <a:pt x="508" y="12090"/>
                    </a:lnTo>
                    <a:lnTo>
                      <a:pt x="1895" y="14567"/>
                    </a:lnTo>
                    <a:lnTo>
                      <a:pt x="3954" y="16237"/>
                    </a:lnTo>
                    <a:lnTo>
                      <a:pt x="6480" y="16849"/>
                    </a:lnTo>
                    <a:lnTo>
                      <a:pt x="15200" y="16849"/>
                    </a:lnTo>
                    <a:lnTo>
                      <a:pt x="15849" y="17627"/>
                    </a:lnTo>
                    <a:lnTo>
                      <a:pt x="15849" y="20817"/>
                    </a:lnTo>
                    <a:lnTo>
                      <a:pt x="15200" y="21597"/>
                    </a:lnTo>
                    <a:lnTo>
                      <a:pt x="6480" y="21600"/>
                    </a:lnTo>
                    <a:lnTo>
                      <a:pt x="21308" y="21600"/>
                    </a:lnTo>
                    <a:lnTo>
                      <a:pt x="21600" y="19856"/>
                    </a:lnTo>
                    <a:lnTo>
                      <a:pt x="21600" y="18587"/>
                    </a:lnTo>
                    <a:lnTo>
                      <a:pt x="21092" y="15556"/>
                    </a:lnTo>
                    <a:lnTo>
                      <a:pt x="19706" y="13081"/>
                    </a:lnTo>
                    <a:lnTo>
                      <a:pt x="17647" y="11412"/>
                    </a:lnTo>
                    <a:lnTo>
                      <a:pt x="15122" y="10800"/>
                    </a:lnTo>
                    <a:lnTo>
                      <a:pt x="6400" y="10800"/>
                    </a:lnTo>
                    <a:lnTo>
                      <a:pt x="5748" y="10021"/>
                    </a:lnTo>
                    <a:lnTo>
                      <a:pt x="5748" y="6828"/>
                    </a:lnTo>
                    <a:lnTo>
                      <a:pt x="6400" y="6049"/>
                    </a:lnTo>
                    <a:lnTo>
                      <a:pt x="18717" y="6049"/>
                    </a:lnTo>
                    <a:lnTo>
                      <a:pt x="18717" y="428"/>
                    </a:lnTo>
                    <a:lnTo>
                      <a:pt x="17876" y="239"/>
                    </a:lnTo>
                    <a:lnTo>
                      <a:pt x="16980" y="106"/>
                    </a:lnTo>
                    <a:lnTo>
                      <a:pt x="16053" y="26"/>
                    </a:lnTo>
                    <a:lnTo>
                      <a:pt x="15119"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2" name="Shape">
                <a:extLst>
                  <a:ext uri="{FF2B5EF4-FFF2-40B4-BE49-F238E27FC236}">
                    <a16:creationId xmlns:a16="http://schemas.microsoft.com/office/drawing/2014/main" id="{674A7423-39E8-4EF4-A9FB-75AF935F1C4F}"/>
                  </a:ext>
                </a:extLst>
              </p:cNvPr>
              <p:cNvSpPr/>
              <p:nvPr/>
            </p:nvSpPr>
            <p:spPr>
              <a:xfrm>
                <a:off x="994337" y="0"/>
                <a:ext cx="91608" cy="12236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7216" y="21600"/>
                    </a:lnTo>
                    <a:lnTo>
                      <a:pt x="7216" y="4726"/>
                    </a:lnTo>
                    <a:lnTo>
                      <a:pt x="17951" y="4726"/>
                    </a:lnTo>
                    <a:lnTo>
                      <a:pt x="21600" y="3"/>
                    </a:lnTo>
                    <a:lnTo>
                      <a:pt x="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3" name="Shape">
                <a:extLst>
                  <a:ext uri="{FF2B5EF4-FFF2-40B4-BE49-F238E27FC236}">
                    <a16:creationId xmlns:a16="http://schemas.microsoft.com/office/drawing/2014/main" id="{71AB49AC-44E5-185C-A43E-EE1E78ECD536}"/>
                  </a:ext>
                </a:extLst>
              </p:cNvPr>
              <p:cNvSpPr/>
              <p:nvPr/>
            </p:nvSpPr>
            <p:spPr>
              <a:xfrm>
                <a:off x="703683" y="0"/>
                <a:ext cx="64625"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0" y="21600"/>
                    </a:lnTo>
                    <a:lnTo>
                      <a:pt x="10220"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4" name="Shape">
                <a:extLst>
                  <a:ext uri="{FF2B5EF4-FFF2-40B4-BE49-F238E27FC236}">
                    <a16:creationId xmlns:a16="http://schemas.microsoft.com/office/drawing/2014/main" id="{3708BE2F-C28B-351D-65E9-E4754DEB6D19}"/>
                  </a:ext>
                </a:extLst>
              </p:cNvPr>
              <p:cNvSpPr/>
              <p:nvPr/>
            </p:nvSpPr>
            <p:spPr>
              <a:xfrm>
                <a:off x="734258" y="42198"/>
                <a:ext cx="91805" cy="80168"/>
              </a:xfrm>
              <a:custGeom>
                <a:avLst/>
                <a:gdLst/>
                <a:ahLst/>
                <a:cxnLst>
                  <a:cxn ang="0">
                    <a:pos x="wd2" y="hd2"/>
                  </a:cxn>
                  <a:cxn ang="5400000">
                    <a:pos x="wd2" y="hd2"/>
                  </a:cxn>
                  <a:cxn ang="10800000">
                    <a:pos x="wd2" y="hd2"/>
                  </a:cxn>
                  <a:cxn ang="16200000">
                    <a:pos x="wd2" y="hd2"/>
                  </a:cxn>
                </a:cxnLst>
                <a:rect l="0" t="0" r="r" b="b"/>
                <a:pathLst>
                  <a:path w="21600" h="21600" extrusionOk="0">
                    <a:moveTo>
                      <a:pt x="8011" y="0"/>
                    </a:moveTo>
                    <a:lnTo>
                      <a:pt x="0" y="0"/>
                    </a:lnTo>
                    <a:lnTo>
                      <a:pt x="13499" y="21600"/>
                    </a:lnTo>
                    <a:lnTo>
                      <a:pt x="21600" y="21600"/>
                    </a:lnTo>
                    <a:lnTo>
                      <a:pt x="21600" y="10229"/>
                    </a:lnTo>
                    <a:lnTo>
                      <a:pt x="14404" y="10229"/>
                    </a:lnTo>
                    <a:lnTo>
                      <a:pt x="8011"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5" name="Rectangle">
                <a:extLst>
                  <a:ext uri="{FF2B5EF4-FFF2-40B4-BE49-F238E27FC236}">
                    <a16:creationId xmlns:a16="http://schemas.microsoft.com/office/drawing/2014/main" id="{27F7D522-F49A-5DB4-C86B-3BF660B21E82}"/>
                  </a:ext>
                </a:extLst>
              </p:cNvPr>
              <p:cNvSpPr/>
              <p:nvPr/>
            </p:nvSpPr>
            <p:spPr>
              <a:xfrm>
                <a:off x="795478" y="113"/>
                <a:ext cx="30585"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6" name="Rectangle">
                <a:extLst>
                  <a:ext uri="{FF2B5EF4-FFF2-40B4-BE49-F238E27FC236}">
                    <a16:creationId xmlns:a16="http://schemas.microsoft.com/office/drawing/2014/main" id="{10679318-F1CF-7ED8-8124-084F830834E3}"/>
                  </a:ext>
                </a:extLst>
              </p:cNvPr>
              <p:cNvSpPr/>
              <p:nvPr/>
            </p:nvSpPr>
            <p:spPr>
              <a:xfrm>
                <a:off x="61334" y="26769"/>
                <a:ext cx="30610" cy="95595"/>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7" name="Shape">
                <a:extLst>
                  <a:ext uri="{FF2B5EF4-FFF2-40B4-BE49-F238E27FC236}">
                    <a16:creationId xmlns:a16="http://schemas.microsoft.com/office/drawing/2014/main" id="{963FF9CE-FC4B-D96E-5C71-988F250D7AB4}"/>
                  </a:ext>
                </a:extLst>
              </p:cNvPr>
              <p:cNvSpPr/>
              <p:nvPr/>
            </p:nvSpPr>
            <p:spPr>
              <a:xfrm>
                <a:off x="-2" y="-2"/>
                <a:ext cx="91946" cy="26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
                    </a:lnTo>
                    <a:lnTo>
                      <a:pt x="3633" y="21600"/>
                    </a:lnTo>
                    <a:lnTo>
                      <a:pt x="21600" y="21590"/>
                    </a:lnTo>
                    <a:lnTo>
                      <a:pt x="21600"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8" name="Shape">
                <a:extLst>
                  <a:ext uri="{FF2B5EF4-FFF2-40B4-BE49-F238E27FC236}">
                    <a16:creationId xmlns:a16="http://schemas.microsoft.com/office/drawing/2014/main" id="{C2C5E71D-B444-4595-8E80-CE9619264562}"/>
                  </a:ext>
                </a:extLst>
              </p:cNvPr>
              <p:cNvSpPr/>
              <p:nvPr/>
            </p:nvSpPr>
            <p:spPr>
              <a:xfrm>
                <a:off x="416838" y="0"/>
                <a:ext cx="64618" cy="122366"/>
              </a:xfrm>
              <a:custGeom>
                <a:avLst/>
                <a:gdLst/>
                <a:ahLst/>
                <a:cxnLst>
                  <a:cxn ang="0">
                    <a:pos x="wd2" y="hd2"/>
                  </a:cxn>
                  <a:cxn ang="5400000">
                    <a:pos x="wd2" y="hd2"/>
                  </a:cxn>
                  <a:cxn ang="10800000">
                    <a:pos x="wd2" y="hd2"/>
                  </a:cxn>
                  <a:cxn ang="16200000">
                    <a:pos x="wd2" y="hd2"/>
                  </a:cxn>
                </a:cxnLst>
                <a:rect l="0" t="0" r="r" b="b"/>
                <a:pathLst>
                  <a:path w="21600" h="21600" extrusionOk="0">
                    <a:moveTo>
                      <a:pt x="11504" y="0"/>
                    </a:moveTo>
                    <a:lnTo>
                      <a:pt x="0" y="0"/>
                    </a:lnTo>
                    <a:lnTo>
                      <a:pt x="0" y="21600"/>
                    </a:lnTo>
                    <a:lnTo>
                      <a:pt x="10221" y="21600"/>
                    </a:lnTo>
                    <a:lnTo>
                      <a:pt x="10221" y="7449"/>
                    </a:lnTo>
                    <a:lnTo>
                      <a:pt x="21600" y="7449"/>
                    </a:lnTo>
                    <a:lnTo>
                      <a:pt x="11504"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89" name="Shape">
                <a:extLst>
                  <a:ext uri="{FF2B5EF4-FFF2-40B4-BE49-F238E27FC236}">
                    <a16:creationId xmlns:a16="http://schemas.microsoft.com/office/drawing/2014/main" id="{F7F75ED6-885C-5C05-E5A9-029BEF963CA1}"/>
                  </a:ext>
                </a:extLst>
              </p:cNvPr>
              <p:cNvSpPr/>
              <p:nvPr/>
            </p:nvSpPr>
            <p:spPr>
              <a:xfrm>
                <a:off x="447414" y="42198"/>
                <a:ext cx="91807" cy="80168"/>
              </a:xfrm>
              <a:custGeom>
                <a:avLst/>
                <a:gdLst/>
                <a:ahLst/>
                <a:cxnLst>
                  <a:cxn ang="0">
                    <a:pos x="wd2" y="hd2"/>
                  </a:cxn>
                  <a:cxn ang="5400000">
                    <a:pos x="wd2" y="hd2"/>
                  </a:cxn>
                  <a:cxn ang="10800000">
                    <a:pos x="wd2" y="hd2"/>
                  </a:cxn>
                  <a:cxn ang="16200000">
                    <a:pos x="wd2" y="hd2"/>
                  </a:cxn>
                </a:cxnLst>
                <a:rect l="0" t="0" r="r" b="b"/>
                <a:pathLst>
                  <a:path w="21600" h="21600" extrusionOk="0">
                    <a:moveTo>
                      <a:pt x="8008" y="0"/>
                    </a:moveTo>
                    <a:lnTo>
                      <a:pt x="0" y="0"/>
                    </a:lnTo>
                    <a:lnTo>
                      <a:pt x="13499" y="21600"/>
                    </a:lnTo>
                    <a:lnTo>
                      <a:pt x="21600" y="21600"/>
                    </a:lnTo>
                    <a:lnTo>
                      <a:pt x="21600" y="10229"/>
                    </a:lnTo>
                    <a:lnTo>
                      <a:pt x="14401" y="10229"/>
                    </a:lnTo>
                    <a:lnTo>
                      <a:pt x="8008" y="0"/>
                    </a:lnTo>
                    <a:close/>
                  </a:path>
                </a:pathLst>
              </a:cu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sp>
            <p:nvSpPr>
              <p:cNvPr id="190" name="Rectangle">
                <a:extLst>
                  <a:ext uri="{FF2B5EF4-FFF2-40B4-BE49-F238E27FC236}">
                    <a16:creationId xmlns:a16="http://schemas.microsoft.com/office/drawing/2014/main" id="{E740D3ED-185F-386B-76BA-255A047797F7}"/>
                  </a:ext>
                </a:extLst>
              </p:cNvPr>
              <p:cNvSpPr/>
              <p:nvPr/>
            </p:nvSpPr>
            <p:spPr>
              <a:xfrm>
                <a:off x="508623" y="113"/>
                <a:ext cx="30598" cy="80052"/>
              </a:xfrm>
              <a:prstGeom prst="rect">
                <a:avLst/>
              </a:prstGeom>
              <a:solidFill>
                <a:srgbClr val="E63023"/>
              </a:solidFill>
              <a:ln w="12700" cap="flat">
                <a:noFill/>
                <a:miter lim="400000"/>
              </a:ln>
              <a:effectLst/>
            </p:spPr>
            <p:txBody>
              <a:bodyPr wrap="square" lIns="45718" tIns="45718" rIns="45718" bIns="45718" numCol="1" anchor="t">
                <a:noAutofit/>
              </a:bodyPr>
              <a:lstStyle/>
              <a:p>
                <a:pPr defTabSz="457200">
                  <a:defRPr sz="1000">
                    <a:latin typeface="Tahoma"/>
                    <a:ea typeface="Tahoma"/>
                    <a:cs typeface="Tahoma"/>
                    <a:sym typeface="Tahoma"/>
                  </a:defRPr>
                </a:pPr>
                <a:endParaRPr/>
              </a:p>
            </p:txBody>
          </p:sp>
        </p:grpSp>
      </p:grpSp>
    </p:spTree>
    <p:extLst>
      <p:ext uri="{BB962C8B-B14F-4D97-AF65-F5344CB8AC3E}">
        <p14:creationId xmlns:p14="http://schemas.microsoft.com/office/powerpoint/2010/main" val="42505485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2D67AB93-ED85-B750-50F4-E7B5B17E4456}"/>
              </a:ext>
            </a:extLst>
          </p:cNvPr>
          <p:cNvPicPr>
            <a:picLocks noGrp="1" noChangeAspect="1"/>
          </p:cNvPicPr>
          <p:nvPr>
            <p:ph type="pic" sz="quarter" idx="12"/>
          </p:nvPr>
        </p:nvPicPr>
        <p:blipFill rotWithShape="1">
          <a:blip r:embed="rId2" cstate="email">
            <a:extLst>
              <a:ext uri="{28A0092B-C50C-407E-A947-70E740481C1C}">
                <a14:useLocalDpi xmlns:a14="http://schemas.microsoft.com/office/drawing/2010/main"/>
              </a:ext>
            </a:extLst>
          </a:blip>
          <a:srcRect/>
          <a:stretch/>
        </p:blipFill>
        <p:spPr/>
      </p:pic>
      <p:sp>
        <p:nvSpPr>
          <p:cNvPr id="2" name="Graphic 64">
            <a:extLst>
              <a:ext uri="{FF2B5EF4-FFF2-40B4-BE49-F238E27FC236}">
                <a16:creationId xmlns:a16="http://schemas.microsoft.com/office/drawing/2014/main" id="{C37055A3-0518-9A8A-0C04-027C6CE6C9F7}"/>
              </a:ext>
            </a:extLst>
          </p:cNvPr>
          <p:cNvSpPr/>
          <p:nvPr/>
        </p:nvSpPr>
        <p:spPr>
          <a:xfrm>
            <a:off x="209511" y="923680"/>
            <a:ext cx="10009519" cy="1141126"/>
          </a:xfrm>
          <a:custGeom>
            <a:avLst/>
            <a:gdLst>
              <a:gd name="connsiteX0" fmla="*/ 7482459 w 7482459"/>
              <a:gd name="connsiteY0" fmla="*/ 0 h 963549"/>
              <a:gd name="connsiteX1" fmla="*/ 439579 w 7482459"/>
              <a:gd name="connsiteY1" fmla="*/ 0 h 963549"/>
              <a:gd name="connsiteX2" fmla="*/ 399955 w 7482459"/>
              <a:gd name="connsiteY2" fmla="*/ 72009 h 963549"/>
              <a:gd name="connsiteX3" fmla="*/ 351377 w 7482459"/>
              <a:gd name="connsiteY3" fmla="*/ 72390 h 963549"/>
              <a:gd name="connsiteX4" fmla="*/ 307467 w 7482459"/>
              <a:gd name="connsiteY4" fmla="*/ 0 h 963549"/>
              <a:gd name="connsiteX5" fmla="*/ 118967 w 7482459"/>
              <a:gd name="connsiteY5" fmla="*/ 0 h 963549"/>
              <a:gd name="connsiteX6" fmla="*/ 0 w 7482459"/>
              <a:gd name="connsiteY6" fmla="*/ 199739 h 963549"/>
              <a:gd name="connsiteX7" fmla="*/ 0 w 7482459"/>
              <a:gd name="connsiteY7" fmla="*/ 342138 h 963549"/>
              <a:gd name="connsiteX8" fmla="*/ 78296 w 7482459"/>
              <a:gd name="connsiteY8" fmla="*/ 463772 h 963549"/>
              <a:gd name="connsiteX9" fmla="*/ 204216 w 7482459"/>
              <a:gd name="connsiteY9" fmla="*/ 463772 h 963549"/>
              <a:gd name="connsiteX10" fmla="*/ 219647 w 7482459"/>
              <a:gd name="connsiteY10" fmla="*/ 437007 h 963549"/>
              <a:gd name="connsiteX11" fmla="*/ 381000 w 7482459"/>
              <a:gd name="connsiteY11" fmla="*/ 437007 h 963549"/>
              <a:gd name="connsiteX12" fmla="*/ 399288 w 7482459"/>
              <a:gd name="connsiteY12" fmla="*/ 469773 h 963549"/>
              <a:gd name="connsiteX13" fmla="*/ 399288 w 7482459"/>
              <a:gd name="connsiteY13" fmla="*/ 568071 h 963549"/>
              <a:gd name="connsiteX14" fmla="*/ 434245 w 7482459"/>
              <a:gd name="connsiteY14" fmla="*/ 628841 h 963549"/>
              <a:gd name="connsiteX15" fmla="*/ 434054 w 7482459"/>
              <a:gd name="connsiteY15" fmla="*/ 693325 h 963549"/>
              <a:gd name="connsiteX16" fmla="*/ 492728 w 7482459"/>
              <a:gd name="connsiteY16" fmla="*/ 800005 h 963549"/>
              <a:gd name="connsiteX17" fmla="*/ 492728 w 7482459"/>
              <a:gd name="connsiteY17" fmla="*/ 884873 h 963549"/>
              <a:gd name="connsiteX18" fmla="*/ 559118 w 7482459"/>
              <a:gd name="connsiteY18" fmla="*/ 962978 h 963549"/>
              <a:gd name="connsiteX19" fmla="*/ 645414 w 7482459"/>
              <a:gd name="connsiteY19" fmla="*/ 963549 h 963549"/>
              <a:gd name="connsiteX20" fmla="*/ 688372 w 7482459"/>
              <a:gd name="connsiteY20" fmla="*/ 892112 h 963549"/>
              <a:gd name="connsiteX21" fmla="*/ 688372 w 7482459"/>
              <a:gd name="connsiteY21" fmla="*/ 837914 h 963549"/>
              <a:gd name="connsiteX22" fmla="*/ 784479 w 7482459"/>
              <a:gd name="connsiteY22" fmla="*/ 687229 h 963549"/>
              <a:gd name="connsiteX23" fmla="*/ 784479 w 7482459"/>
              <a:gd name="connsiteY23" fmla="*/ 586169 h 963549"/>
              <a:gd name="connsiteX24" fmla="*/ 831152 w 7482459"/>
              <a:gd name="connsiteY24" fmla="*/ 512636 h 963549"/>
              <a:gd name="connsiteX25" fmla="*/ 886968 w 7482459"/>
              <a:gd name="connsiteY25" fmla="*/ 513207 h 963549"/>
              <a:gd name="connsiteX26" fmla="*/ 979075 w 7482459"/>
              <a:gd name="connsiteY26" fmla="*/ 352139 h 963549"/>
              <a:gd name="connsiteX27" fmla="*/ 809530 w 7482459"/>
              <a:gd name="connsiteY27" fmla="*/ 352139 h 963549"/>
              <a:gd name="connsiteX28" fmla="*/ 761333 w 7482459"/>
              <a:gd name="connsiteY28" fmla="*/ 269367 h 963549"/>
              <a:gd name="connsiteX29" fmla="*/ 761429 w 7482459"/>
              <a:gd name="connsiteY29" fmla="*/ 189357 h 963549"/>
              <a:gd name="connsiteX30" fmla="*/ 681419 w 7482459"/>
              <a:gd name="connsiteY30" fmla="*/ 77438 h 963549"/>
              <a:gd name="connsiteX31" fmla="*/ 655511 w 7482459"/>
              <a:gd name="connsiteY31" fmla="*/ 77438 h 963549"/>
              <a:gd name="connsiteX32" fmla="*/ 487299 w 7482459"/>
              <a:gd name="connsiteY32" fmla="*/ 77438 h 963549"/>
              <a:gd name="connsiteX33" fmla="*/ 443293 w 7482459"/>
              <a:gd name="connsiteY33" fmla="*/ 153448 h 963549"/>
              <a:gd name="connsiteX34" fmla="*/ 316421 w 7482459"/>
              <a:gd name="connsiteY34" fmla="*/ 153448 h 963549"/>
              <a:gd name="connsiteX35" fmla="*/ 265843 w 7482459"/>
              <a:gd name="connsiteY35" fmla="*/ 67056 h 963549"/>
              <a:gd name="connsiteX36" fmla="*/ 159639 w 7482459"/>
              <a:gd name="connsiteY36" fmla="*/ 67056 h 963549"/>
              <a:gd name="connsiteX37" fmla="*/ 71914 w 7482459"/>
              <a:gd name="connsiteY37" fmla="*/ 225457 h 963549"/>
              <a:gd name="connsiteX38" fmla="*/ 71914 w 7482459"/>
              <a:gd name="connsiteY38" fmla="*/ 311753 h 963549"/>
              <a:gd name="connsiteX39" fmla="*/ 121825 w 7482459"/>
              <a:gd name="connsiteY39" fmla="*/ 393192 h 963549"/>
              <a:gd name="connsiteX40" fmla="*/ 160687 w 7482459"/>
              <a:gd name="connsiteY40" fmla="*/ 393192 h 963549"/>
              <a:gd name="connsiteX41" fmla="*/ 173260 w 7482459"/>
              <a:gd name="connsiteY41" fmla="*/ 370332 h 963549"/>
              <a:gd name="connsiteX42" fmla="*/ 416433 w 7482459"/>
              <a:gd name="connsiteY42" fmla="*/ 370332 h 963549"/>
              <a:gd name="connsiteX43" fmla="*/ 465392 w 7482459"/>
              <a:gd name="connsiteY43" fmla="*/ 455676 h 963549"/>
              <a:gd name="connsiteX44" fmla="*/ 465392 w 7482459"/>
              <a:gd name="connsiteY44" fmla="*/ 556736 h 963549"/>
              <a:gd name="connsiteX45" fmla="*/ 500443 w 7482459"/>
              <a:gd name="connsiteY45" fmla="*/ 616839 h 963549"/>
              <a:gd name="connsiteX46" fmla="*/ 500443 w 7482459"/>
              <a:gd name="connsiteY46" fmla="*/ 678275 h 963549"/>
              <a:gd name="connsiteX47" fmla="*/ 563309 w 7482459"/>
              <a:gd name="connsiteY47" fmla="*/ 783527 h 963549"/>
              <a:gd name="connsiteX48" fmla="*/ 563309 w 7482459"/>
              <a:gd name="connsiteY48" fmla="*/ 847344 h 963549"/>
              <a:gd name="connsiteX49" fmla="*/ 594932 w 7482459"/>
              <a:gd name="connsiteY49" fmla="*/ 888492 h 963549"/>
              <a:gd name="connsiteX50" fmla="*/ 609124 w 7482459"/>
              <a:gd name="connsiteY50" fmla="*/ 888492 h 963549"/>
              <a:gd name="connsiteX51" fmla="*/ 628460 w 7482459"/>
              <a:gd name="connsiteY51" fmla="*/ 856488 h 963549"/>
              <a:gd name="connsiteX52" fmla="*/ 628460 w 7482459"/>
              <a:gd name="connsiteY52" fmla="*/ 810292 h 963549"/>
              <a:gd name="connsiteX53" fmla="*/ 717899 w 7482459"/>
              <a:gd name="connsiteY53" fmla="*/ 667226 h 963549"/>
              <a:gd name="connsiteX54" fmla="*/ 718566 w 7482459"/>
              <a:gd name="connsiteY54" fmla="*/ 556165 h 963549"/>
              <a:gd name="connsiteX55" fmla="*/ 790956 w 7482459"/>
              <a:gd name="connsiteY55" fmla="*/ 448056 h 963549"/>
              <a:gd name="connsiteX56" fmla="*/ 843725 w 7482459"/>
              <a:gd name="connsiteY56" fmla="*/ 447770 h 963549"/>
              <a:gd name="connsiteX57" fmla="*/ 861060 w 7482459"/>
              <a:gd name="connsiteY57" fmla="*/ 419957 h 963549"/>
              <a:gd name="connsiteX58" fmla="*/ 767239 w 7482459"/>
              <a:gd name="connsiteY58" fmla="*/ 419957 h 963549"/>
              <a:gd name="connsiteX59" fmla="*/ 691229 w 7482459"/>
              <a:gd name="connsiteY59" fmla="*/ 291370 h 963549"/>
              <a:gd name="connsiteX60" fmla="*/ 689229 w 7482459"/>
              <a:gd name="connsiteY60" fmla="*/ 210407 h 963549"/>
              <a:gd name="connsiteX61" fmla="*/ 640271 w 7482459"/>
              <a:gd name="connsiteY61" fmla="*/ 144399 h 963549"/>
              <a:gd name="connsiteX62" fmla="*/ 532352 w 7482459"/>
              <a:gd name="connsiteY62" fmla="*/ 143447 h 963549"/>
              <a:gd name="connsiteX63" fmla="*/ 483108 w 7482459"/>
              <a:gd name="connsiteY63" fmla="*/ 228410 h 963549"/>
              <a:gd name="connsiteX64" fmla="*/ 271082 w 7482459"/>
              <a:gd name="connsiteY64" fmla="*/ 228410 h 963549"/>
              <a:gd name="connsiteX65" fmla="*/ 227743 w 7482459"/>
              <a:gd name="connsiteY65" fmla="*/ 156782 h 963549"/>
              <a:gd name="connsiteX66" fmla="*/ 200216 w 7482459"/>
              <a:gd name="connsiteY66" fmla="*/ 156782 h 963549"/>
              <a:gd name="connsiteX67" fmla="*/ 152019 w 7482459"/>
              <a:gd name="connsiteY67" fmla="*/ 248126 h 963549"/>
              <a:gd name="connsiteX68" fmla="*/ 150781 w 7482459"/>
              <a:gd name="connsiteY68" fmla="*/ 298990 h 963549"/>
              <a:gd name="connsiteX69" fmla="*/ 153638 w 7482459"/>
              <a:gd name="connsiteY69" fmla="*/ 303562 h 963549"/>
              <a:gd name="connsiteX70" fmla="*/ 157353 w 7482459"/>
              <a:gd name="connsiteY70" fmla="*/ 303467 h 963549"/>
              <a:gd name="connsiteX71" fmla="*/ 161068 w 7482459"/>
              <a:gd name="connsiteY71" fmla="*/ 298990 h 963549"/>
              <a:gd name="connsiteX72" fmla="*/ 525304 w 7482459"/>
              <a:gd name="connsiteY72" fmla="*/ 299180 h 963549"/>
              <a:gd name="connsiteX73" fmla="*/ 578739 w 7482459"/>
              <a:gd name="connsiteY73" fmla="*/ 213741 h 963549"/>
              <a:gd name="connsiteX74" fmla="*/ 607314 w 7482459"/>
              <a:gd name="connsiteY74" fmla="*/ 213741 h 963549"/>
              <a:gd name="connsiteX75" fmla="*/ 629317 w 7482459"/>
              <a:gd name="connsiteY75" fmla="*/ 242697 h 963549"/>
              <a:gd name="connsiteX76" fmla="*/ 629317 w 7482459"/>
              <a:gd name="connsiteY76" fmla="*/ 322326 h 963549"/>
              <a:gd name="connsiteX77" fmla="*/ 704945 w 7482459"/>
              <a:gd name="connsiteY77" fmla="*/ 449294 h 963549"/>
              <a:gd name="connsiteX78" fmla="*/ 648938 w 7482459"/>
              <a:gd name="connsiteY78" fmla="*/ 533400 h 963549"/>
              <a:gd name="connsiteX79" fmla="*/ 647510 w 7482459"/>
              <a:gd name="connsiteY79" fmla="*/ 650558 h 963549"/>
              <a:gd name="connsiteX80" fmla="*/ 603409 w 7482459"/>
              <a:gd name="connsiteY80" fmla="*/ 716852 h 963549"/>
              <a:gd name="connsiteX81" fmla="*/ 563404 w 7482459"/>
              <a:gd name="connsiteY81" fmla="*/ 649700 h 963549"/>
              <a:gd name="connsiteX82" fmla="*/ 563404 w 7482459"/>
              <a:gd name="connsiteY82" fmla="*/ 578644 h 963549"/>
              <a:gd name="connsiteX83" fmla="*/ 537496 w 7482459"/>
              <a:gd name="connsiteY83" fmla="*/ 536258 h 963549"/>
              <a:gd name="connsiteX84" fmla="*/ 537496 w 7482459"/>
              <a:gd name="connsiteY84" fmla="*/ 436721 h 963549"/>
              <a:gd name="connsiteX85" fmla="*/ 498824 w 7482459"/>
              <a:gd name="connsiteY85" fmla="*/ 368999 h 963549"/>
              <a:gd name="connsiteX86" fmla="*/ 581120 w 7482459"/>
              <a:gd name="connsiteY86" fmla="*/ 368999 h 963549"/>
              <a:gd name="connsiteX87" fmla="*/ 627698 w 7482459"/>
              <a:gd name="connsiteY87" fmla="*/ 443579 h 963549"/>
              <a:gd name="connsiteX88" fmla="*/ 592550 w 7482459"/>
              <a:gd name="connsiteY88" fmla="*/ 496729 h 963549"/>
              <a:gd name="connsiteX0" fmla="*/ 8451880 w 8451880"/>
              <a:gd name="connsiteY0" fmla="*/ 0 h 963549"/>
              <a:gd name="connsiteX1" fmla="*/ 439579 w 8451880"/>
              <a:gd name="connsiteY1" fmla="*/ 0 h 963549"/>
              <a:gd name="connsiteX2" fmla="*/ 399955 w 8451880"/>
              <a:gd name="connsiteY2" fmla="*/ 72009 h 963549"/>
              <a:gd name="connsiteX3" fmla="*/ 351377 w 8451880"/>
              <a:gd name="connsiteY3" fmla="*/ 72390 h 963549"/>
              <a:gd name="connsiteX4" fmla="*/ 307467 w 8451880"/>
              <a:gd name="connsiteY4" fmla="*/ 0 h 963549"/>
              <a:gd name="connsiteX5" fmla="*/ 118967 w 8451880"/>
              <a:gd name="connsiteY5" fmla="*/ 0 h 963549"/>
              <a:gd name="connsiteX6" fmla="*/ 0 w 8451880"/>
              <a:gd name="connsiteY6" fmla="*/ 199739 h 963549"/>
              <a:gd name="connsiteX7" fmla="*/ 0 w 8451880"/>
              <a:gd name="connsiteY7" fmla="*/ 342138 h 963549"/>
              <a:gd name="connsiteX8" fmla="*/ 78296 w 8451880"/>
              <a:gd name="connsiteY8" fmla="*/ 463772 h 963549"/>
              <a:gd name="connsiteX9" fmla="*/ 204216 w 8451880"/>
              <a:gd name="connsiteY9" fmla="*/ 463772 h 963549"/>
              <a:gd name="connsiteX10" fmla="*/ 219647 w 8451880"/>
              <a:gd name="connsiteY10" fmla="*/ 437007 h 963549"/>
              <a:gd name="connsiteX11" fmla="*/ 381000 w 8451880"/>
              <a:gd name="connsiteY11" fmla="*/ 437007 h 963549"/>
              <a:gd name="connsiteX12" fmla="*/ 399288 w 8451880"/>
              <a:gd name="connsiteY12" fmla="*/ 469773 h 963549"/>
              <a:gd name="connsiteX13" fmla="*/ 399288 w 8451880"/>
              <a:gd name="connsiteY13" fmla="*/ 568071 h 963549"/>
              <a:gd name="connsiteX14" fmla="*/ 434245 w 8451880"/>
              <a:gd name="connsiteY14" fmla="*/ 628841 h 963549"/>
              <a:gd name="connsiteX15" fmla="*/ 434054 w 8451880"/>
              <a:gd name="connsiteY15" fmla="*/ 693325 h 963549"/>
              <a:gd name="connsiteX16" fmla="*/ 492728 w 8451880"/>
              <a:gd name="connsiteY16" fmla="*/ 800005 h 963549"/>
              <a:gd name="connsiteX17" fmla="*/ 492728 w 8451880"/>
              <a:gd name="connsiteY17" fmla="*/ 884873 h 963549"/>
              <a:gd name="connsiteX18" fmla="*/ 559118 w 8451880"/>
              <a:gd name="connsiteY18" fmla="*/ 962978 h 963549"/>
              <a:gd name="connsiteX19" fmla="*/ 645414 w 8451880"/>
              <a:gd name="connsiteY19" fmla="*/ 963549 h 963549"/>
              <a:gd name="connsiteX20" fmla="*/ 688372 w 8451880"/>
              <a:gd name="connsiteY20" fmla="*/ 892112 h 963549"/>
              <a:gd name="connsiteX21" fmla="*/ 688372 w 8451880"/>
              <a:gd name="connsiteY21" fmla="*/ 837914 h 963549"/>
              <a:gd name="connsiteX22" fmla="*/ 784479 w 8451880"/>
              <a:gd name="connsiteY22" fmla="*/ 687229 h 963549"/>
              <a:gd name="connsiteX23" fmla="*/ 784479 w 8451880"/>
              <a:gd name="connsiteY23" fmla="*/ 586169 h 963549"/>
              <a:gd name="connsiteX24" fmla="*/ 831152 w 8451880"/>
              <a:gd name="connsiteY24" fmla="*/ 512636 h 963549"/>
              <a:gd name="connsiteX25" fmla="*/ 886968 w 8451880"/>
              <a:gd name="connsiteY25" fmla="*/ 513207 h 963549"/>
              <a:gd name="connsiteX26" fmla="*/ 979075 w 8451880"/>
              <a:gd name="connsiteY26" fmla="*/ 352139 h 963549"/>
              <a:gd name="connsiteX27" fmla="*/ 809530 w 8451880"/>
              <a:gd name="connsiteY27" fmla="*/ 352139 h 963549"/>
              <a:gd name="connsiteX28" fmla="*/ 761333 w 8451880"/>
              <a:gd name="connsiteY28" fmla="*/ 269367 h 963549"/>
              <a:gd name="connsiteX29" fmla="*/ 761429 w 8451880"/>
              <a:gd name="connsiteY29" fmla="*/ 189357 h 963549"/>
              <a:gd name="connsiteX30" fmla="*/ 681419 w 8451880"/>
              <a:gd name="connsiteY30" fmla="*/ 77438 h 963549"/>
              <a:gd name="connsiteX31" fmla="*/ 655511 w 8451880"/>
              <a:gd name="connsiteY31" fmla="*/ 77438 h 963549"/>
              <a:gd name="connsiteX32" fmla="*/ 487299 w 8451880"/>
              <a:gd name="connsiteY32" fmla="*/ 77438 h 963549"/>
              <a:gd name="connsiteX33" fmla="*/ 443293 w 8451880"/>
              <a:gd name="connsiteY33" fmla="*/ 153448 h 963549"/>
              <a:gd name="connsiteX34" fmla="*/ 316421 w 8451880"/>
              <a:gd name="connsiteY34" fmla="*/ 153448 h 963549"/>
              <a:gd name="connsiteX35" fmla="*/ 265843 w 8451880"/>
              <a:gd name="connsiteY35" fmla="*/ 67056 h 963549"/>
              <a:gd name="connsiteX36" fmla="*/ 159639 w 8451880"/>
              <a:gd name="connsiteY36" fmla="*/ 67056 h 963549"/>
              <a:gd name="connsiteX37" fmla="*/ 71914 w 8451880"/>
              <a:gd name="connsiteY37" fmla="*/ 225457 h 963549"/>
              <a:gd name="connsiteX38" fmla="*/ 71914 w 8451880"/>
              <a:gd name="connsiteY38" fmla="*/ 311753 h 963549"/>
              <a:gd name="connsiteX39" fmla="*/ 121825 w 8451880"/>
              <a:gd name="connsiteY39" fmla="*/ 393192 h 963549"/>
              <a:gd name="connsiteX40" fmla="*/ 160687 w 8451880"/>
              <a:gd name="connsiteY40" fmla="*/ 393192 h 963549"/>
              <a:gd name="connsiteX41" fmla="*/ 173260 w 8451880"/>
              <a:gd name="connsiteY41" fmla="*/ 370332 h 963549"/>
              <a:gd name="connsiteX42" fmla="*/ 416433 w 8451880"/>
              <a:gd name="connsiteY42" fmla="*/ 370332 h 963549"/>
              <a:gd name="connsiteX43" fmla="*/ 465392 w 8451880"/>
              <a:gd name="connsiteY43" fmla="*/ 455676 h 963549"/>
              <a:gd name="connsiteX44" fmla="*/ 465392 w 8451880"/>
              <a:gd name="connsiteY44" fmla="*/ 556736 h 963549"/>
              <a:gd name="connsiteX45" fmla="*/ 500443 w 8451880"/>
              <a:gd name="connsiteY45" fmla="*/ 616839 h 963549"/>
              <a:gd name="connsiteX46" fmla="*/ 500443 w 8451880"/>
              <a:gd name="connsiteY46" fmla="*/ 678275 h 963549"/>
              <a:gd name="connsiteX47" fmla="*/ 563309 w 8451880"/>
              <a:gd name="connsiteY47" fmla="*/ 783527 h 963549"/>
              <a:gd name="connsiteX48" fmla="*/ 563309 w 8451880"/>
              <a:gd name="connsiteY48" fmla="*/ 847344 h 963549"/>
              <a:gd name="connsiteX49" fmla="*/ 594932 w 8451880"/>
              <a:gd name="connsiteY49" fmla="*/ 888492 h 963549"/>
              <a:gd name="connsiteX50" fmla="*/ 609124 w 8451880"/>
              <a:gd name="connsiteY50" fmla="*/ 888492 h 963549"/>
              <a:gd name="connsiteX51" fmla="*/ 628460 w 8451880"/>
              <a:gd name="connsiteY51" fmla="*/ 856488 h 963549"/>
              <a:gd name="connsiteX52" fmla="*/ 628460 w 8451880"/>
              <a:gd name="connsiteY52" fmla="*/ 810292 h 963549"/>
              <a:gd name="connsiteX53" fmla="*/ 717899 w 8451880"/>
              <a:gd name="connsiteY53" fmla="*/ 667226 h 963549"/>
              <a:gd name="connsiteX54" fmla="*/ 718566 w 8451880"/>
              <a:gd name="connsiteY54" fmla="*/ 556165 h 963549"/>
              <a:gd name="connsiteX55" fmla="*/ 790956 w 8451880"/>
              <a:gd name="connsiteY55" fmla="*/ 448056 h 963549"/>
              <a:gd name="connsiteX56" fmla="*/ 843725 w 8451880"/>
              <a:gd name="connsiteY56" fmla="*/ 447770 h 963549"/>
              <a:gd name="connsiteX57" fmla="*/ 861060 w 8451880"/>
              <a:gd name="connsiteY57" fmla="*/ 419957 h 963549"/>
              <a:gd name="connsiteX58" fmla="*/ 767239 w 8451880"/>
              <a:gd name="connsiteY58" fmla="*/ 419957 h 963549"/>
              <a:gd name="connsiteX59" fmla="*/ 691229 w 8451880"/>
              <a:gd name="connsiteY59" fmla="*/ 291370 h 963549"/>
              <a:gd name="connsiteX60" fmla="*/ 689229 w 8451880"/>
              <a:gd name="connsiteY60" fmla="*/ 210407 h 963549"/>
              <a:gd name="connsiteX61" fmla="*/ 640271 w 8451880"/>
              <a:gd name="connsiteY61" fmla="*/ 144399 h 963549"/>
              <a:gd name="connsiteX62" fmla="*/ 532352 w 8451880"/>
              <a:gd name="connsiteY62" fmla="*/ 143447 h 963549"/>
              <a:gd name="connsiteX63" fmla="*/ 483108 w 8451880"/>
              <a:gd name="connsiteY63" fmla="*/ 228410 h 963549"/>
              <a:gd name="connsiteX64" fmla="*/ 271082 w 8451880"/>
              <a:gd name="connsiteY64" fmla="*/ 228410 h 963549"/>
              <a:gd name="connsiteX65" fmla="*/ 227743 w 8451880"/>
              <a:gd name="connsiteY65" fmla="*/ 156782 h 963549"/>
              <a:gd name="connsiteX66" fmla="*/ 200216 w 8451880"/>
              <a:gd name="connsiteY66" fmla="*/ 156782 h 963549"/>
              <a:gd name="connsiteX67" fmla="*/ 152019 w 8451880"/>
              <a:gd name="connsiteY67" fmla="*/ 248126 h 963549"/>
              <a:gd name="connsiteX68" fmla="*/ 150781 w 8451880"/>
              <a:gd name="connsiteY68" fmla="*/ 298990 h 963549"/>
              <a:gd name="connsiteX69" fmla="*/ 153638 w 8451880"/>
              <a:gd name="connsiteY69" fmla="*/ 303562 h 963549"/>
              <a:gd name="connsiteX70" fmla="*/ 157353 w 8451880"/>
              <a:gd name="connsiteY70" fmla="*/ 303467 h 963549"/>
              <a:gd name="connsiteX71" fmla="*/ 161068 w 8451880"/>
              <a:gd name="connsiteY71" fmla="*/ 298990 h 963549"/>
              <a:gd name="connsiteX72" fmla="*/ 525304 w 8451880"/>
              <a:gd name="connsiteY72" fmla="*/ 299180 h 963549"/>
              <a:gd name="connsiteX73" fmla="*/ 578739 w 8451880"/>
              <a:gd name="connsiteY73" fmla="*/ 213741 h 963549"/>
              <a:gd name="connsiteX74" fmla="*/ 607314 w 8451880"/>
              <a:gd name="connsiteY74" fmla="*/ 213741 h 963549"/>
              <a:gd name="connsiteX75" fmla="*/ 629317 w 8451880"/>
              <a:gd name="connsiteY75" fmla="*/ 242697 h 963549"/>
              <a:gd name="connsiteX76" fmla="*/ 629317 w 8451880"/>
              <a:gd name="connsiteY76" fmla="*/ 322326 h 963549"/>
              <a:gd name="connsiteX77" fmla="*/ 704945 w 8451880"/>
              <a:gd name="connsiteY77" fmla="*/ 449294 h 963549"/>
              <a:gd name="connsiteX78" fmla="*/ 648938 w 8451880"/>
              <a:gd name="connsiteY78" fmla="*/ 533400 h 963549"/>
              <a:gd name="connsiteX79" fmla="*/ 647510 w 8451880"/>
              <a:gd name="connsiteY79" fmla="*/ 650558 h 963549"/>
              <a:gd name="connsiteX80" fmla="*/ 603409 w 8451880"/>
              <a:gd name="connsiteY80" fmla="*/ 716852 h 963549"/>
              <a:gd name="connsiteX81" fmla="*/ 563404 w 8451880"/>
              <a:gd name="connsiteY81" fmla="*/ 649700 h 963549"/>
              <a:gd name="connsiteX82" fmla="*/ 563404 w 8451880"/>
              <a:gd name="connsiteY82" fmla="*/ 578644 h 963549"/>
              <a:gd name="connsiteX83" fmla="*/ 537496 w 8451880"/>
              <a:gd name="connsiteY83" fmla="*/ 536258 h 963549"/>
              <a:gd name="connsiteX84" fmla="*/ 537496 w 8451880"/>
              <a:gd name="connsiteY84" fmla="*/ 436721 h 963549"/>
              <a:gd name="connsiteX85" fmla="*/ 498824 w 8451880"/>
              <a:gd name="connsiteY85" fmla="*/ 368999 h 963549"/>
              <a:gd name="connsiteX86" fmla="*/ 581120 w 8451880"/>
              <a:gd name="connsiteY86" fmla="*/ 368999 h 963549"/>
              <a:gd name="connsiteX87" fmla="*/ 627698 w 8451880"/>
              <a:gd name="connsiteY87" fmla="*/ 443579 h 963549"/>
              <a:gd name="connsiteX88" fmla="*/ 592550 w 8451880"/>
              <a:gd name="connsiteY88" fmla="*/ 496729 h 9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451880" h="963549">
                <a:moveTo>
                  <a:pt x="8451880" y="0"/>
                </a:moveTo>
                <a:lnTo>
                  <a:pt x="439579" y="0"/>
                </a:lnTo>
                <a:lnTo>
                  <a:pt x="399955" y="72009"/>
                </a:lnTo>
                <a:lnTo>
                  <a:pt x="351377" y="72390"/>
                </a:lnTo>
                <a:lnTo>
                  <a:pt x="307467" y="0"/>
                </a:lnTo>
                <a:lnTo>
                  <a:pt x="118967" y="0"/>
                </a:lnTo>
                <a:lnTo>
                  <a:pt x="0" y="199739"/>
                </a:lnTo>
                <a:lnTo>
                  <a:pt x="0" y="342138"/>
                </a:lnTo>
                <a:lnTo>
                  <a:pt x="78296" y="463772"/>
                </a:lnTo>
                <a:lnTo>
                  <a:pt x="204216" y="463772"/>
                </a:lnTo>
                <a:lnTo>
                  <a:pt x="219647" y="437007"/>
                </a:lnTo>
                <a:lnTo>
                  <a:pt x="381000" y="437007"/>
                </a:lnTo>
                <a:lnTo>
                  <a:pt x="399288" y="469773"/>
                </a:lnTo>
                <a:lnTo>
                  <a:pt x="399288" y="568071"/>
                </a:lnTo>
                <a:lnTo>
                  <a:pt x="434245" y="628841"/>
                </a:lnTo>
                <a:cubicBezTo>
                  <a:pt x="434181" y="650336"/>
                  <a:pt x="434118" y="671830"/>
                  <a:pt x="434054" y="693325"/>
                </a:cubicBezTo>
                <a:lnTo>
                  <a:pt x="492728" y="800005"/>
                </a:lnTo>
                <a:lnTo>
                  <a:pt x="492728" y="884873"/>
                </a:lnTo>
                <a:lnTo>
                  <a:pt x="559118" y="962978"/>
                </a:lnTo>
                <a:lnTo>
                  <a:pt x="645414" y="963549"/>
                </a:lnTo>
                <a:lnTo>
                  <a:pt x="688372" y="892112"/>
                </a:lnTo>
                <a:lnTo>
                  <a:pt x="688372" y="837914"/>
                </a:lnTo>
                <a:lnTo>
                  <a:pt x="784479" y="687229"/>
                </a:lnTo>
                <a:lnTo>
                  <a:pt x="784479" y="586169"/>
                </a:lnTo>
                <a:lnTo>
                  <a:pt x="831152" y="512636"/>
                </a:lnTo>
                <a:lnTo>
                  <a:pt x="886968" y="513207"/>
                </a:lnTo>
                <a:lnTo>
                  <a:pt x="979075" y="352139"/>
                </a:lnTo>
                <a:lnTo>
                  <a:pt x="809530" y="352139"/>
                </a:lnTo>
                <a:lnTo>
                  <a:pt x="761333" y="269367"/>
                </a:lnTo>
                <a:lnTo>
                  <a:pt x="761429" y="189357"/>
                </a:lnTo>
                <a:lnTo>
                  <a:pt x="681419" y="77438"/>
                </a:lnTo>
                <a:lnTo>
                  <a:pt x="655511" y="77438"/>
                </a:lnTo>
                <a:lnTo>
                  <a:pt x="487299" y="77438"/>
                </a:lnTo>
                <a:lnTo>
                  <a:pt x="443293" y="153448"/>
                </a:lnTo>
                <a:lnTo>
                  <a:pt x="316421" y="153448"/>
                </a:lnTo>
                <a:lnTo>
                  <a:pt x="265843" y="67056"/>
                </a:lnTo>
                <a:lnTo>
                  <a:pt x="159639" y="67056"/>
                </a:lnTo>
                <a:lnTo>
                  <a:pt x="71914" y="225457"/>
                </a:lnTo>
                <a:lnTo>
                  <a:pt x="71914" y="311753"/>
                </a:lnTo>
                <a:lnTo>
                  <a:pt x="121825" y="393192"/>
                </a:lnTo>
                <a:lnTo>
                  <a:pt x="160687" y="393192"/>
                </a:lnTo>
                <a:lnTo>
                  <a:pt x="173260" y="370332"/>
                </a:lnTo>
                <a:lnTo>
                  <a:pt x="416433" y="370332"/>
                </a:lnTo>
                <a:lnTo>
                  <a:pt x="465392" y="455676"/>
                </a:lnTo>
                <a:lnTo>
                  <a:pt x="465392" y="556736"/>
                </a:lnTo>
                <a:lnTo>
                  <a:pt x="500443" y="616839"/>
                </a:lnTo>
                <a:lnTo>
                  <a:pt x="500443" y="678275"/>
                </a:lnTo>
                <a:lnTo>
                  <a:pt x="563309" y="783527"/>
                </a:lnTo>
                <a:lnTo>
                  <a:pt x="563309" y="847344"/>
                </a:lnTo>
                <a:lnTo>
                  <a:pt x="594932" y="888492"/>
                </a:lnTo>
                <a:lnTo>
                  <a:pt x="609124" y="888492"/>
                </a:lnTo>
                <a:lnTo>
                  <a:pt x="628460" y="856488"/>
                </a:lnTo>
                <a:lnTo>
                  <a:pt x="628460" y="810292"/>
                </a:lnTo>
                <a:lnTo>
                  <a:pt x="717899" y="667226"/>
                </a:lnTo>
                <a:cubicBezTo>
                  <a:pt x="718121" y="630206"/>
                  <a:pt x="718344" y="593185"/>
                  <a:pt x="718566" y="556165"/>
                </a:cubicBezTo>
                <a:lnTo>
                  <a:pt x="790956" y="448056"/>
                </a:lnTo>
                <a:lnTo>
                  <a:pt x="843725" y="447770"/>
                </a:lnTo>
                <a:lnTo>
                  <a:pt x="861060" y="419957"/>
                </a:lnTo>
                <a:lnTo>
                  <a:pt x="767239" y="419957"/>
                </a:lnTo>
                <a:lnTo>
                  <a:pt x="691229" y="291370"/>
                </a:lnTo>
                <a:cubicBezTo>
                  <a:pt x="690562" y="264382"/>
                  <a:pt x="689896" y="237395"/>
                  <a:pt x="689229" y="210407"/>
                </a:cubicBezTo>
                <a:lnTo>
                  <a:pt x="640271" y="144399"/>
                </a:lnTo>
                <a:lnTo>
                  <a:pt x="532352" y="143447"/>
                </a:lnTo>
                <a:lnTo>
                  <a:pt x="483108" y="228410"/>
                </a:lnTo>
                <a:lnTo>
                  <a:pt x="271082" y="228410"/>
                </a:lnTo>
                <a:lnTo>
                  <a:pt x="227743" y="156782"/>
                </a:lnTo>
                <a:lnTo>
                  <a:pt x="200216" y="156782"/>
                </a:lnTo>
                <a:lnTo>
                  <a:pt x="152019" y="248126"/>
                </a:lnTo>
                <a:cubicBezTo>
                  <a:pt x="151606" y="265081"/>
                  <a:pt x="151194" y="282035"/>
                  <a:pt x="150781" y="298990"/>
                </a:cubicBezTo>
                <a:lnTo>
                  <a:pt x="153638" y="303562"/>
                </a:lnTo>
                <a:lnTo>
                  <a:pt x="157353" y="303467"/>
                </a:lnTo>
                <a:lnTo>
                  <a:pt x="161068" y="298990"/>
                </a:lnTo>
                <a:lnTo>
                  <a:pt x="525304" y="299180"/>
                </a:lnTo>
                <a:lnTo>
                  <a:pt x="578739" y="213741"/>
                </a:lnTo>
                <a:lnTo>
                  <a:pt x="607314" y="213741"/>
                </a:lnTo>
                <a:lnTo>
                  <a:pt x="629317" y="242697"/>
                </a:lnTo>
                <a:lnTo>
                  <a:pt x="629317" y="322326"/>
                </a:lnTo>
                <a:lnTo>
                  <a:pt x="704945" y="449294"/>
                </a:lnTo>
                <a:lnTo>
                  <a:pt x="648938" y="533400"/>
                </a:lnTo>
                <a:lnTo>
                  <a:pt x="647510" y="650558"/>
                </a:lnTo>
                <a:lnTo>
                  <a:pt x="603409" y="716852"/>
                </a:lnTo>
                <a:lnTo>
                  <a:pt x="563404" y="649700"/>
                </a:lnTo>
                <a:lnTo>
                  <a:pt x="563404" y="578644"/>
                </a:lnTo>
                <a:lnTo>
                  <a:pt x="537496" y="536258"/>
                </a:lnTo>
                <a:lnTo>
                  <a:pt x="537496" y="436721"/>
                </a:lnTo>
                <a:lnTo>
                  <a:pt x="498824" y="368999"/>
                </a:lnTo>
                <a:lnTo>
                  <a:pt x="581120" y="368999"/>
                </a:lnTo>
                <a:lnTo>
                  <a:pt x="627698" y="443579"/>
                </a:lnTo>
                <a:lnTo>
                  <a:pt x="592550" y="496729"/>
                </a:lnTo>
              </a:path>
            </a:pathLst>
          </a:custGeom>
          <a:noFill/>
          <a:ln w="7144" cap="flat">
            <a:solidFill>
              <a:srgbClr val="E63C2B"/>
            </a:solidFill>
            <a:prstDash val="solid"/>
            <a:miter/>
          </a:ln>
        </p:spPr>
        <p:txBody>
          <a:bodyPr rtlCol="0" anchor="ctr"/>
          <a:lstStyle/>
          <a:p>
            <a:endParaRPr lang="en-US"/>
          </a:p>
        </p:txBody>
      </p:sp>
      <p:sp>
        <p:nvSpPr>
          <p:cNvPr id="3" name="Freeform 2">
            <a:extLst>
              <a:ext uri="{FF2B5EF4-FFF2-40B4-BE49-F238E27FC236}">
                <a16:creationId xmlns:a16="http://schemas.microsoft.com/office/drawing/2014/main" id="{4938AFD7-9AAD-E832-42B0-CA139FBC7801}"/>
              </a:ext>
            </a:extLst>
          </p:cNvPr>
          <p:cNvSpPr/>
          <p:nvPr/>
        </p:nvSpPr>
        <p:spPr>
          <a:xfrm>
            <a:off x="11521842" y="6474757"/>
            <a:ext cx="670159" cy="383241"/>
          </a:xfrm>
          <a:custGeom>
            <a:avLst/>
            <a:gdLst>
              <a:gd name="connsiteX0" fmla="*/ 221469 w 670159"/>
              <a:gd name="connsiteY0" fmla="*/ 0 h 383241"/>
              <a:gd name="connsiteX1" fmla="*/ 670159 w 670159"/>
              <a:gd name="connsiteY1" fmla="*/ 0 h 383241"/>
              <a:gd name="connsiteX2" fmla="*/ 670159 w 670159"/>
              <a:gd name="connsiteY2" fmla="*/ 214027 h 383241"/>
              <a:gd name="connsiteX3" fmla="*/ 670159 w 670159"/>
              <a:gd name="connsiteY3" fmla="*/ 383241 h 383241"/>
              <a:gd name="connsiteX4" fmla="*/ 0 w 670159"/>
              <a:gd name="connsiteY4" fmla="*/ 383241 h 383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159" h="383241">
                <a:moveTo>
                  <a:pt x="221469" y="0"/>
                </a:moveTo>
                <a:lnTo>
                  <a:pt x="670159" y="0"/>
                </a:lnTo>
                <a:lnTo>
                  <a:pt x="670159" y="214027"/>
                </a:lnTo>
                <a:lnTo>
                  <a:pt x="670159" y="383241"/>
                </a:lnTo>
                <a:lnTo>
                  <a:pt x="0" y="383241"/>
                </a:lnTo>
                <a:close/>
              </a:path>
            </a:pathLst>
          </a:custGeom>
          <a:solidFill>
            <a:srgbClr val="E63C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lnSpc>
                <a:spcPct val="110000"/>
              </a:lnSpc>
              <a:spcBef>
                <a:spcPts val="92"/>
              </a:spcBef>
              <a:spcAft>
                <a:spcPts val="92"/>
              </a:spcAft>
            </a:pPr>
            <a:endParaRPr lang="en-US" sz="923">
              <a:solidFill>
                <a:schemeClr val="tx1"/>
              </a:solidFill>
            </a:endParaRPr>
          </a:p>
        </p:txBody>
      </p:sp>
      <p:sp>
        <p:nvSpPr>
          <p:cNvPr id="4" name="Rectangle 3">
            <a:extLst>
              <a:ext uri="{FF2B5EF4-FFF2-40B4-BE49-F238E27FC236}">
                <a16:creationId xmlns:a16="http://schemas.microsoft.com/office/drawing/2014/main" id="{3AD35E6F-C541-D374-FB49-03D8E64073E3}"/>
              </a:ext>
            </a:extLst>
          </p:cNvPr>
          <p:cNvSpPr/>
          <p:nvPr/>
        </p:nvSpPr>
        <p:spPr>
          <a:xfrm>
            <a:off x="11588593" y="65348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bg1"/>
                </a:solidFill>
                <a:latin typeface="Tahoma"/>
              </a:rPr>
              <a:pPr algn="r" fontAlgn="auto">
                <a:spcBef>
                  <a:spcPts val="0"/>
                </a:spcBef>
                <a:spcAft>
                  <a:spcPts val="0"/>
                </a:spcAft>
              </a:pPr>
              <a:t>2</a:t>
            </a:fld>
            <a:endParaRPr lang="en-ZA" sz="767" b="1">
              <a:solidFill>
                <a:schemeClr val="bg1"/>
              </a:solidFill>
              <a:latin typeface="Tahoma"/>
            </a:endParaRPr>
          </a:p>
        </p:txBody>
      </p:sp>
      <p:pic>
        <p:nvPicPr>
          <p:cNvPr id="5" name="Picture 4">
            <a:extLst>
              <a:ext uri="{FF2B5EF4-FFF2-40B4-BE49-F238E27FC236}">
                <a16:creationId xmlns:a16="http://schemas.microsoft.com/office/drawing/2014/main" id="{00D190C1-ADE5-D0B0-A729-9F1FFB8847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2596" y="571621"/>
            <a:ext cx="1391803" cy="948397"/>
          </a:xfrm>
          <a:prstGeom prst="rect">
            <a:avLst/>
          </a:prstGeom>
        </p:spPr>
      </p:pic>
      <p:sp>
        <p:nvSpPr>
          <p:cNvPr id="10" name="Title 9">
            <a:extLst>
              <a:ext uri="{FF2B5EF4-FFF2-40B4-BE49-F238E27FC236}">
                <a16:creationId xmlns:a16="http://schemas.microsoft.com/office/drawing/2014/main" id="{88721522-904E-C10D-6BB9-4F08DABFDFF1}"/>
              </a:ext>
            </a:extLst>
          </p:cNvPr>
          <p:cNvSpPr>
            <a:spLocks noGrp="1"/>
          </p:cNvSpPr>
          <p:nvPr>
            <p:ph type="title"/>
          </p:nvPr>
        </p:nvSpPr>
        <p:spPr>
          <a:xfrm>
            <a:off x="283474" y="106234"/>
            <a:ext cx="10079725" cy="461665"/>
          </a:xfrm>
        </p:spPr>
        <p:txBody>
          <a:bodyPr/>
          <a:lstStyle/>
          <a:p>
            <a:r>
              <a:rPr lang="en-ZA" dirty="0"/>
              <a:t>AGENDA</a:t>
            </a:r>
          </a:p>
        </p:txBody>
      </p:sp>
      <p:graphicFrame>
        <p:nvGraphicFramePr>
          <p:cNvPr id="14" name="Table 13">
            <a:extLst>
              <a:ext uri="{FF2B5EF4-FFF2-40B4-BE49-F238E27FC236}">
                <a16:creationId xmlns:a16="http://schemas.microsoft.com/office/drawing/2014/main" id="{89EDC9F0-B0A5-FB40-4BFE-6EF31A2F272E}"/>
              </a:ext>
            </a:extLst>
          </p:cNvPr>
          <p:cNvGraphicFramePr>
            <a:graphicFrameLocks noGrp="1"/>
          </p:cNvGraphicFramePr>
          <p:nvPr>
            <p:extLst>
              <p:ext uri="{D42A27DB-BD31-4B8C-83A1-F6EECF244321}">
                <p14:modId xmlns:p14="http://schemas.microsoft.com/office/powerpoint/2010/main" val="2181380509"/>
              </p:ext>
            </p:extLst>
          </p:nvPr>
        </p:nvGraphicFramePr>
        <p:xfrm>
          <a:off x="456630" y="923680"/>
          <a:ext cx="9027885" cy="5922420"/>
        </p:xfrm>
        <a:graphic>
          <a:graphicData uri="http://schemas.openxmlformats.org/drawingml/2006/table">
            <a:tbl>
              <a:tblPr firstRow="1" bandRow="1">
                <a:tableStyleId>{5C22544A-7EE6-4342-B048-85BDC9FD1C3A}</a:tableStyleId>
              </a:tblPr>
              <a:tblGrid>
                <a:gridCol w="3009295">
                  <a:extLst>
                    <a:ext uri="{9D8B030D-6E8A-4147-A177-3AD203B41FA5}">
                      <a16:colId xmlns:a16="http://schemas.microsoft.com/office/drawing/2014/main" val="731700326"/>
                    </a:ext>
                  </a:extLst>
                </a:gridCol>
                <a:gridCol w="3009295">
                  <a:extLst>
                    <a:ext uri="{9D8B030D-6E8A-4147-A177-3AD203B41FA5}">
                      <a16:colId xmlns:a16="http://schemas.microsoft.com/office/drawing/2014/main" val="3552145917"/>
                    </a:ext>
                  </a:extLst>
                </a:gridCol>
                <a:gridCol w="3009295">
                  <a:extLst>
                    <a:ext uri="{9D8B030D-6E8A-4147-A177-3AD203B41FA5}">
                      <a16:colId xmlns:a16="http://schemas.microsoft.com/office/drawing/2014/main" val="818067789"/>
                    </a:ext>
                  </a:extLst>
                </a:gridCol>
              </a:tblGrid>
              <a:tr h="511132">
                <a:tc>
                  <a:txBody>
                    <a:bodyPr/>
                    <a:lstStyle/>
                    <a:p>
                      <a:r>
                        <a:rPr lang="en-ZA" dirty="0"/>
                        <a:t>Agenda Point</a:t>
                      </a:r>
                    </a:p>
                  </a:txBody>
                  <a:tcPr>
                    <a:solidFill>
                      <a:schemeClr val="tx1"/>
                    </a:solidFill>
                  </a:tcPr>
                </a:tc>
                <a:tc>
                  <a:txBody>
                    <a:bodyPr/>
                    <a:lstStyle/>
                    <a:p>
                      <a:r>
                        <a:rPr lang="en-ZA" dirty="0"/>
                        <a:t>Time Allocated</a:t>
                      </a:r>
                    </a:p>
                  </a:txBody>
                  <a:tcPr>
                    <a:solidFill>
                      <a:schemeClr val="tx1"/>
                    </a:solidFill>
                  </a:tcPr>
                </a:tc>
                <a:tc>
                  <a:txBody>
                    <a:bodyPr/>
                    <a:lstStyle/>
                    <a:p>
                      <a:r>
                        <a:rPr lang="en-ZA" dirty="0"/>
                        <a:t>Presenter</a:t>
                      </a:r>
                    </a:p>
                  </a:txBody>
                  <a:tcPr>
                    <a:solidFill>
                      <a:schemeClr val="tx1"/>
                    </a:solidFill>
                  </a:tcPr>
                </a:tc>
                <a:extLst>
                  <a:ext uri="{0D108BD9-81ED-4DB2-BD59-A6C34878D82A}">
                    <a16:rowId xmlns:a16="http://schemas.microsoft.com/office/drawing/2014/main" val="2142455617"/>
                  </a:ext>
                </a:extLst>
              </a:tr>
              <a:tr h="582782">
                <a:tc>
                  <a:txBody>
                    <a:bodyPr/>
                    <a:lstStyle/>
                    <a:p>
                      <a:r>
                        <a:rPr lang="en-ZA" sz="1800" dirty="0">
                          <a:latin typeface="+mn-lt"/>
                        </a:rPr>
                        <a:t>Safety </a:t>
                      </a:r>
                    </a:p>
                  </a:txBody>
                  <a:tcPr>
                    <a:solidFill>
                      <a:schemeClr val="bg1"/>
                    </a:solidFill>
                  </a:tcPr>
                </a:tc>
                <a:tc>
                  <a:txBody>
                    <a:bodyPr/>
                    <a:lstStyle/>
                    <a:p>
                      <a:pPr marL="0" algn="ctr" defTabSz="779173" rtl="0" eaLnBrk="1" latinLnBrk="0" hangingPunct="1"/>
                      <a:r>
                        <a:rPr lang="en-ZA" sz="1800" kern="1200" dirty="0">
                          <a:solidFill>
                            <a:schemeClr val="dk1"/>
                          </a:solidFill>
                          <a:latin typeface="+mn-lt"/>
                          <a:ea typeface="+mn-ea"/>
                          <a:cs typeface="+mn-cs"/>
                        </a:rPr>
                        <a:t>5 minutes</a:t>
                      </a:r>
                    </a:p>
                  </a:txBody>
                  <a:tcPr>
                    <a:solidFill>
                      <a:schemeClr val="bg1"/>
                    </a:solidFill>
                  </a:tcPr>
                </a:tc>
                <a:tc>
                  <a:txBody>
                    <a:bodyPr/>
                    <a:lstStyle/>
                    <a:p>
                      <a:r>
                        <a:rPr lang="en-ZA" sz="1800" dirty="0">
                          <a:latin typeface="+mn-lt"/>
                        </a:rPr>
                        <a:t>Safety Representative </a:t>
                      </a:r>
                    </a:p>
                  </a:txBody>
                  <a:tcPr>
                    <a:solidFill>
                      <a:schemeClr val="bg1"/>
                    </a:solidFill>
                  </a:tcPr>
                </a:tc>
                <a:extLst>
                  <a:ext uri="{0D108BD9-81ED-4DB2-BD59-A6C34878D82A}">
                    <a16:rowId xmlns:a16="http://schemas.microsoft.com/office/drawing/2014/main" val="1455567706"/>
                  </a:ext>
                </a:extLst>
              </a:tr>
              <a:tr h="582782">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l"/>
                      <a:r>
                        <a:rPr lang="en-ZA" sz="1800" dirty="0">
                          <a:latin typeface="+mn-lt"/>
                        </a:rPr>
                        <a:t>Welcome and introduction</a:t>
                      </a:r>
                    </a:p>
                  </a:txBody>
                  <a:tcPr>
                    <a:solidFill>
                      <a:schemeClr val="bg1"/>
                    </a:solidFill>
                  </a:tcPr>
                </a:tc>
                <a:tc>
                  <a:txBody>
                    <a:bodyPr/>
                    <a:lstStyle/>
                    <a:p>
                      <a:pPr marL="0" algn="ctr" defTabSz="779173" rtl="0" eaLnBrk="1" latinLnBrk="0" hangingPunct="1"/>
                      <a:r>
                        <a:rPr lang="en-ZA" sz="1800" kern="1200" dirty="0">
                          <a:solidFill>
                            <a:schemeClr val="dk1"/>
                          </a:solidFill>
                          <a:latin typeface="+mn-lt"/>
                          <a:ea typeface="+mn-ea"/>
                          <a:cs typeface="+mn-cs"/>
                        </a:rPr>
                        <a:t>2 minutes</a:t>
                      </a:r>
                    </a:p>
                  </a:txBody>
                  <a:tcPr>
                    <a:solidFill>
                      <a:schemeClr val="bg1"/>
                    </a:solidFill>
                  </a:tcPr>
                </a:tc>
                <a:tc>
                  <a:txBody>
                    <a:bodyPr/>
                    <a:lstStyle/>
                    <a:p>
                      <a:r>
                        <a:rPr lang="en-ZA" sz="1800" dirty="0">
                          <a:latin typeface="+mn-lt"/>
                        </a:rPr>
                        <a:t>Hlengiwe Zulu</a:t>
                      </a:r>
                    </a:p>
                  </a:txBody>
                  <a:tcPr>
                    <a:solidFill>
                      <a:schemeClr val="bg1"/>
                    </a:solidFill>
                  </a:tcPr>
                </a:tc>
                <a:extLst>
                  <a:ext uri="{0D108BD9-81ED-4DB2-BD59-A6C34878D82A}">
                    <a16:rowId xmlns:a16="http://schemas.microsoft.com/office/drawing/2014/main" val="3006727949"/>
                  </a:ext>
                </a:extLst>
              </a:tr>
              <a:tr h="764251">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l"/>
                      <a:r>
                        <a:rPr lang="en-ZA" sz="1800" dirty="0">
                          <a:latin typeface="+mn-lt"/>
                        </a:rPr>
                        <a:t>Session rules of engagement</a:t>
                      </a:r>
                    </a:p>
                  </a:txBody>
                  <a:tcPr>
                    <a:solidFill>
                      <a:schemeClr val="bg1"/>
                    </a:solidFill>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800" dirty="0">
                          <a:latin typeface="+mn-lt"/>
                        </a:rPr>
                        <a:t>5 minutes</a:t>
                      </a:r>
                    </a:p>
                  </a:txBody>
                  <a:tcPr>
                    <a:solidFill>
                      <a:schemeClr val="bg1"/>
                    </a:solidFill>
                  </a:tcPr>
                </a:tc>
                <a:tc>
                  <a:txBody>
                    <a:bodyPr/>
                    <a:lstStyle/>
                    <a:p>
                      <a:r>
                        <a:rPr lang="en-ZA" sz="1800" dirty="0">
                          <a:latin typeface="+mn-lt"/>
                        </a:rPr>
                        <a:t>Hlengiwe Zulu</a:t>
                      </a:r>
                    </a:p>
                  </a:txBody>
                  <a:tcPr>
                    <a:solidFill>
                      <a:schemeClr val="bg1"/>
                    </a:solidFill>
                  </a:tcPr>
                </a:tc>
                <a:extLst>
                  <a:ext uri="{0D108BD9-81ED-4DB2-BD59-A6C34878D82A}">
                    <a16:rowId xmlns:a16="http://schemas.microsoft.com/office/drawing/2014/main" val="1198883581"/>
                  </a:ext>
                </a:extLst>
              </a:tr>
              <a:tr h="764251">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l"/>
                      <a:r>
                        <a:rPr lang="en-ZA" sz="1800" dirty="0">
                          <a:latin typeface="+mn-lt"/>
                        </a:rPr>
                        <a:t>Procurement process briefing</a:t>
                      </a:r>
                    </a:p>
                  </a:txBody>
                  <a:tcPr>
                    <a:solidFill>
                      <a:schemeClr val="bg1"/>
                    </a:solidFill>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800" dirty="0">
                          <a:latin typeface="+mn-lt"/>
                        </a:rPr>
                        <a:t>10 minutes</a:t>
                      </a:r>
                    </a:p>
                  </a:txBody>
                  <a:tcPr>
                    <a:solidFill>
                      <a:schemeClr val="bg1"/>
                    </a:solidFill>
                  </a:tcPr>
                </a:tc>
                <a:tc>
                  <a:txBody>
                    <a:bodyPr/>
                    <a:lstStyle/>
                    <a:p>
                      <a:r>
                        <a:rPr lang="en-ZA" sz="1800" dirty="0">
                          <a:latin typeface="+mn-lt"/>
                        </a:rPr>
                        <a:t>Hlengiwe Zulu</a:t>
                      </a:r>
                    </a:p>
                  </a:txBody>
                  <a:tcPr>
                    <a:solidFill>
                      <a:schemeClr val="bg1"/>
                    </a:solidFill>
                  </a:tcPr>
                </a:tc>
                <a:extLst>
                  <a:ext uri="{0D108BD9-81ED-4DB2-BD59-A6C34878D82A}">
                    <a16:rowId xmlns:a16="http://schemas.microsoft.com/office/drawing/2014/main" val="3217355876"/>
                  </a:ext>
                </a:extLst>
              </a:tr>
              <a:tr h="764251">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l"/>
                      <a:r>
                        <a:rPr lang="en-US" sz="1800" dirty="0">
                          <a:latin typeface="+mn-lt"/>
                        </a:rPr>
                        <a:t>SD – Transformational objectives </a:t>
                      </a:r>
                      <a:endParaRPr lang="en-ZA" sz="1800" dirty="0">
                        <a:latin typeface="+mn-lt"/>
                      </a:endParaRPr>
                    </a:p>
                  </a:txBody>
                  <a:tcPr>
                    <a:solidFill>
                      <a:schemeClr val="bg1"/>
                    </a:solidFill>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800" dirty="0">
                          <a:latin typeface="+mn-lt"/>
                        </a:rPr>
                        <a:t>10 minutes</a:t>
                      </a:r>
                    </a:p>
                  </a:txBody>
                  <a:tcPr>
                    <a:solidFill>
                      <a:schemeClr val="bg1"/>
                    </a:solidFill>
                  </a:tcPr>
                </a:tc>
                <a:tc>
                  <a:txBody>
                    <a:bodyPr/>
                    <a:lstStyle/>
                    <a:p>
                      <a:r>
                        <a:rPr lang="en-ZA" sz="1800" dirty="0">
                          <a:latin typeface="+mn-lt"/>
                        </a:rPr>
                        <a:t>Nandipha Ngcobo</a:t>
                      </a:r>
                    </a:p>
                  </a:txBody>
                  <a:tcPr>
                    <a:solidFill>
                      <a:schemeClr val="bg1"/>
                    </a:solidFill>
                  </a:tcPr>
                </a:tc>
                <a:extLst>
                  <a:ext uri="{0D108BD9-81ED-4DB2-BD59-A6C34878D82A}">
                    <a16:rowId xmlns:a16="http://schemas.microsoft.com/office/drawing/2014/main" val="1396396572"/>
                  </a:ext>
                </a:extLst>
              </a:tr>
              <a:tr h="764251">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l"/>
                      <a:r>
                        <a:rPr lang="en-US" sz="1800" dirty="0">
                          <a:latin typeface="+mn-lt"/>
                        </a:rPr>
                        <a:t>Technical Scope</a:t>
                      </a:r>
                      <a:r>
                        <a:rPr lang="en-US" sz="1800" baseline="0" dirty="0">
                          <a:latin typeface="+mn-lt"/>
                        </a:rPr>
                        <a:t> &amp; requirements</a:t>
                      </a:r>
                      <a:endParaRPr lang="en-ZA" sz="1800" dirty="0">
                        <a:latin typeface="+mn-lt"/>
                      </a:endParaRPr>
                    </a:p>
                  </a:txBody>
                  <a:tcPr>
                    <a:solidFill>
                      <a:schemeClr val="bg1"/>
                    </a:solidFill>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800" dirty="0">
                          <a:latin typeface="+mn-lt"/>
                        </a:rPr>
                        <a:t>30 minutes</a:t>
                      </a:r>
                    </a:p>
                  </a:txBody>
                  <a:tcPr>
                    <a:solidFill>
                      <a:schemeClr val="bg1"/>
                    </a:solidFill>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marL="0" algn="ctr" defTabSz="779173" rtl="0" eaLnBrk="1" latinLnBrk="0" hangingPunct="1"/>
                      <a:r>
                        <a:rPr lang="en-ZA" sz="1800" kern="1200" dirty="0">
                          <a:solidFill>
                            <a:schemeClr val="dk1"/>
                          </a:solidFill>
                          <a:latin typeface="+mn-lt"/>
                          <a:ea typeface="+mn-ea"/>
                          <a:cs typeface="+mn-cs"/>
                        </a:rPr>
                        <a:t>Willie Van Dyk /Clarence King</a:t>
                      </a:r>
                    </a:p>
                  </a:txBody>
                  <a:tcPr>
                    <a:solidFill>
                      <a:schemeClr val="bg1"/>
                    </a:solidFill>
                  </a:tcPr>
                </a:tc>
                <a:extLst>
                  <a:ext uri="{0D108BD9-81ED-4DB2-BD59-A6C34878D82A}">
                    <a16:rowId xmlns:a16="http://schemas.microsoft.com/office/drawing/2014/main" val="564884513"/>
                  </a:ext>
                </a:extLst>
              </a:tr>
              <a:tr h="1091788">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l"/>
                      <a:r>
                        <a:rPr lang="en-US" sz="1800" dirty="0">
                          <a:latin typeface="+mn-lt"/>
                        </a:rPr>
                        <a:t>Questions and closing/Site Visit</a:t>
                      </a:r>
                    </a:p>
                    <a:p>
                      <a:pPr algn="l"/>
                      <a:endParaRPr lang="en-US" sz="1800" dirty="0">
                        <a:latin typeface="+mn-lt"/>
                      </a:endParaRPr>
                    </a:p>
                    <a:p>
                      <a:pPr algn="l"/>
                      <a:endParaRPr lang="en-US" sz="1800" dirty="0">
                        <a:latin typeface="+mn-lt"/>
                      </a:endParaRPr>
                    </a:p>
                  </a:txBody>
                  <a:tcPr>
                    <a:solidFill>
                      <a:schemeClr val="bg1"/>
                    </a:solidFill>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algn="ctr"/>
                      <a:r>
                        <a:rPr lang="en-ZA" sz="1800" dirty="0">
                          <a:latin typeface="+mn-lt"/>
                        </a:rPr>
                        <a:t>20 minutes</a:t>
                      </a:r>
                    </a:p>
                  </a:txBody>
                  <a:tcPr>
                    <a:solidFill>
                      <a:schemeClr val="bg1"/>
                    </a:solidFill>
                  </a:tcPr>
                </a:tc>
                <a:tc>
                  <a:txBody>
                    <a:bodyPr/>
                    <a:lstStyle>
                      <a:lvl1pPr marL="0" algn="l" defTabSz="779173" rtl="0" eaLnBrk="1" latinLnBrk="0" hangingPunct="1">
                        <a:defRPr sz="1534" kern="1200">
                          <a:solidFill>
                            <a:schemeClr val="dk1"/>
                          </a:solidFill>
                          <a:latin typeface="Calibri"/>
                        </a:defRPr>
                      </a:lvl1pPr>
                      <a:lvl2pPr marL="389586" algn="l" defTabSz="779173" rtl="0" eaLnBrk="1" latinLnBrk="0" hangingPunct="1">
                        <a:defRPr sz="1534" kern="1200">
                          <a:solidFill>
                            <a:schemeClr val="dk1"/>
                          </a:solidFill>
                          <a:latin typeface="Calibri"/>
                        </a:defRPr>
                      </a:lvl2pPr>
                      <a:lvl3pPr marL="779173" algn="l" defTabSz="779173" rtl="0" eaLnBrk="1" latinLnBrk="0" hangingPunct="1">
                        <a:defRPr sz="1534" kern="1200">
                          <a:solidFill>
                            <a:schemeClr val="dk1"/>
                          </a:solidFill>
                          <a:latin typeface="Calibri"/>
                        </a:defRPr>
                      </a:lvl3pPr>
                      <a:lvl4pPr marL="1168759" algn="l" defTabSz="779173" rtl="0" eaLnBrk="1" latinLnBrk="0" hangingPunct="1">
                        <a:defRPr sz="1534" kern="1200">
                          <a:solidFill>
                            <a:schemeClr val="dk1"/>
                          </a:solidFill>
                          <a:latin typeface="Calibri"/>
                        </a:defRPr>
                      </a:lvl4pPr>
                      <a:lvl5pPr marL="1558345" algn="l" defTabSz="779173" rtl="0" eaLnBrk="1" latinLnBrk="0" hangingPunct="1">
                        <a:defRPr sz="1534" kern="1200">
                          <a:solidFill>
                            <a:schemeClr val="dk1"/>
                          </a:solidFill>
                          <a:latin typeface="Calibri"/>
                        </a:defRPr>
                      </a:lvl5pPr>
                      <a:lvl6pPr marL="1947932" algn="l" defTabSz="779173" rtl="0" eaLnBrk="1" latinLnBrk="0" hangingPunct="1">
                        <a:defRPr sz="1534" kern="1200">
                          <a:solidFill>
                            <a:schemeClr val="dk1"/>
                          </a:solidFill>
                          <a:latin typeface="Calibri"/>
                        </a:defRPr>
                      </a:lvl6pPr>
                      <a:lvl7pPr marL="2337518" algn="l" defTabSz="779173" rtl="0" eaLnBrk="1" latinLnBrk="0" hangingPunct="1">
                        <a:defRPr sz="1534" kern="1200">
                          <a:solidFill>
                            <a:schemeClr val="dk1"/>
                          </a:solidFill>
                          <a:latin typeface="Calibri"/>
                        </a:defRPr>
                      </a:lvl7pPr>
                      <a:lvl8pPr marL="2727104" algn="l" defTabSz="779173" rtl="0" eaLnBrk="1" latinLnBrk="0" hangingPunct="1">
                        <a:defRPr sz="1534" kern="1200">
                          <a:solidFill>
                            <a:schemeClr val="dk1"/>
                          </a:solidFill>
                          <a:latin typeface="Calibri"/>
                        </a:defRPr>
                      </a:lvl8pPr>
                      <a:lvl9pPr marL="3116691" algn="l" defTabSz="779173" rtl="0" eaLnBrk="1" latinLnBrk="0" hangingPunct="1">
                        <a:defRPr sz="1534" kern="1200">
                          <a:solidFill>
                            <a:schemeClr val="dk1"/>
                          </a:solidFill>
                          <a:latin typeface="Calibri"/>
                        </a:defRPr>
                      </a:lvl9pPr>
                    </a:lstStyle>
                    <a:p>
                      <a:pPr marL="0" marR="0" lvl="0" indent="0" algn="ctr" defTabSz="779173" rtl="0" eaLnBrk="1" fontAlgn="auto" latinLnBrk="0" hangingPunct="1">
                        <a:lnSpc>
                          <a:spcPct val="100000"/>
                        </a:lnSpc>
                        <a:spcBef>
                          <a:spcPts val="0"/>
                        </a:spcBef>
                        <a:spcAft>
                          <a:spcPts val="0"/>
                        </a:spcAft>
                        <a:buClrTx/>
                        <a:buSzTx/>
                        <a:buFontTx/>
                        <a:buNone/>
                        <a:tabLst/>
                        <a:defRPr/>
                      </a:pPr>
                      <a:r>
                        <a:rPr lang="en-ZA" sz="1800" kern="1200" baseline="0" dirty="0">
                          <a:solidFill>
                            <a:schemeClr val="dk1"/>
                          </a:solidFill>
                          <a:latin typeface="+mn-lt"/>
                          <a:ea typeface="+mn-ea"/>
                          <a:cs typeface="+mn-cs"/>
                        </a:rPr>
                        <a:t>Willie Van Dyk/Clarence King </a:t>
                      </a:r>
                    </a:p>
                    <a:p>
                      <a:pPr marL="0" algn="ctr" defTabSz="779173" rtl="0" eaLnBrk="1" latinLnBrk="0" hangingPunct="1"/>
                      <a:r>
                        <a:rPr lang="en-US" sz="1800" kern="1200" baseline="0" dirty="0">
                          <a:solidFill>
                            <a:schemeClr val="dk1"/>
                          </a:solidFill>
                          <a:latin typeface="+mn-lt"/>
                          <a:ea typeface="+mn-ea"/>
                          <a:cs typeface="+mn-cs"/>
                        </a:rPr>
                        <a:t>/ Hlengiwe Zulu</a:t>
                      </a:r>
                      <a:endParaRPr lang="en-ZA" sz="1800" kern="1200" baseline="0" dirty="0">
                        <a:solidFill>
                          <a:schemeClr val="dk1"/>
                        </a:solidFill>
                        <a:latin typeface="+mn-lt"/>
                        <a:ea typeface="+mn-ea"/>
                        <a:cs typeface="+mn-cs"/>
                      </a:endParaRPr>
                    </a:p>
                  </a:txBody>
                  <a:tcPr>
                    <a:solidFill>
                      <a:schemeClr val="bg1"/>
                    </a:solidFill>
                  </a:tcPr>
                </a:tc>
                <a:extLst>
                  <a:ext uri="{0D108BD9-81ED-4DB2-BD59-A6C34878D82A}">
                    <a16:rowId xmlns:a16="http://schemas.microsoft.com/office/drawing/2014/main" val="2906264935"/>
                  </a:ext>
                </a:extLst>
              </a:tr>
            </a:tbl>
          </a:graphicData>
        </a:graphic>
      </p:graphicFrame>
    </p:spTree>
    <p:extLst>
      <p:ext uri="{BB962C8B-B14F-4D97-AF65-F5344CB8AC3E}">
        <p14:creationId xmlns:p14="http://schemas.microsoft.com/office/powerpoint/2010/main" val="13783395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CAEE95CE-0534-BB78-0583-46700DCC573A}"/>
              </a:ext>
            </a:extLst>
          </p:cNvPr>
          <p:cNvSpPr>
            <a:spLocks noGrp="1"/>
          </p:cNvSpPr>
          <p:nvPr>
            <p:ph type="title"/>
          </p:nvPr>
        </p:nvSpPr>
        <p:spPr>
          <a:xfrm>
            <a:off x="86265" y="321211"/>
            <a:ext cx="10822684" cy="523220"/>
          </a:xfrm>
        </p:spPr>
        <p:txBody>
          <a:bodyPr/>
          <a:lstStyle/>
          <a:p>
            <a:r>
              <a:rPr lang="en-ZA" dirty="0">
                <a:latin typeface="+mn-lt"/>
              </a:rPr>
              <a:t>SESSION RULES OF ENGAGEMENT (1/2)</a:t>
            </a:r>
            <a:endParaRPr lang="en-US" dirty="0"/>
          </a:p>
        </p:txBody>
      </p:sp>
      <p:sp>
        <p:nvSpPr>
          <p:cNvPr id="30" name="Subtitle 29">
            <a:extLst>
              <a:ext uri="{FF2B5EF4-FFF2-40B4-BE49-F238E27FC236}">
                <a16:creationId xmlns:a16="http://schemas.microsoft.com/office/drawing/2014/main" id="{2F56EA8E-0941-B701-6CDC-1D6811AC694E}"/>
              </a:ext>
            </a:extLst>
          </p:cNvPr>
          <p:cNvSpPr>
            <a:spLocks noGrp="1"/>
          </p:cNvSpPr>
          <p:nvPr>
            <p:ph type="subTitle" idx="1"/>
          </p:nvPr>
        </p:nvSpPr>
        <p:spPr>
          <a:xfrm>
            <a:off x="641435" y="844430"/>
            <a:ext cx="10822684" cy="5240683"/>
          </a:xfrm>
        </p:spPr>
        <p:txBody>
          <a:bodyPr/>
          <a:lstStyle/>
          <a:p>
            <a:pPr marL="342900" lvl="0" indent="-342900" algn="l" defTabSz="844083">
              <a:lnSpc>
                <a:spcPct val="110000"/>
              </a:lnSpc>
              <a:spcAft>
                <a:spcPts val="900"/>
              </a:spcAft>
              <a:buFont typeface="Arial" pitchFamily="34" charset="0"/>
              <a:buChar char="•"/>
            </a:pPr>
            <a:r>
              <a:rPr lang="en-ZA" sz="1800" dirty="0">
                <a:solidFill>
                  <a:srgbClr val="000000"/>
                </a:solidFill>
                <a:latin typeface="+mn-lt"/>
              </a:rPr>
              <a:t>This briefing session is compulsory </a:t>
            </a:r>
          </a:p>
          <a:p>
            <a:pPr marL="342900" indent="-342900" algn="l" defTabSz="844083">
              <a:lnSpc>
                <a:spcPct val="110000"/>
              </a:lnSpc>
              <a:spcAft>
                <a:spcPts val="900"/>
              </a:spcAft>
              <a:buFont typeface="Arial" pitchFamily="34" charset="0"/>
              <a:buChar char="•"/>
            </a:pPr>
            <a:r>
              <a:rPr kumimoji="0" lang="en-US" sz="1800" b="0" i="0" u="none" strike="noStrike" kern="0" cap="none" spc="0" normalizeH="0" baseline="0" noProof="0" dirty="0">
                <a:ln>
                  <a:noFill/>
                </a:ln>
                <a:solidFill>
                  <a:prstClr val="black"/>
                </a:solidFill>
                <a:effectLst/>
                <a:uLnTx/>
                <a:uFillTx/>
                <a:latin typeface="+mn-lt"/>
              </a:rPr>
              <a:t>Attenda</a:t>
            </a:r>
            <a:r>
              <a:rPr lang="en-US" sz="1800" kern="0" dirty="0" err="1">
                <a:solidFill>
                  <a:prstClr val="black"/>
                </a:solidFill>
                <a:latin typeface="+mn-lt"/>
              </a:rPr>
              <a:t>nce</a:t>
            </a:r>
            <a:r>
              <a:rPr lang="en-US" sz="1800" kern="0" dirty="0">
                <a:solidFill>
                  <a:prstClr val="black"/>
                </a:solidFill>
                <a:latin typeface="+mn-lt"/>
              </a:rPr>
              <a:t> register and Certificate of attendance</a:t>
            </a:r>
            <a:endParaRPr lang="en-ZA" sz="1800" dirty="0">
              <a:solidFill>
                <a:srgbClr val="000000"/>
              </a:solidFill>
              <a:latin typeface="+mn-lt"/>
            </a:endParaRPr>
          </a:p>
          <a:p>
            <a:pPr marL="342900" lvl="0" indent="-342900" algn="l" defTabSz="844083">
              <a:lnSpc>
                <a:spcPct val="110000"/>
              </a:lnSpc>
              <a:spcAft>
                <a:spcPts val="900"/>
              </a:spcAft>
              <a:buFont typeface="Arial" pitchFamily="34" charset="0"/>
              <a:buChar char="•"/>
            </a:pPr>
            <a:r>
              <a:rPr lang="en-ZA" sz="1800" dirty="0">
                <a:solidFill>
                  <a:sysClr val="windowText" lastClr="000000"/>
                </a:solidFill>
                <a:latin typeface="+mn-lt"/>
              </a:rPr>
              <a:t>Bidders are requested to remain for the entire duration of the briefing session as important information pertaining to the RFP will be presented.</a:t>
            </a:r>
          </a:p>
          <a:p>
            <a:pPr marL="342900" lvl="0" indent="-342900" algn="l" defTabSz="844083">
              <a:lnSpc>
                <a:spcPct val="110000"/>
              </a:lnSpc>
              <a:spcAft>
                <a:spcPts val="900"/>
              </a:spcAft>
              <a:buFont typeface="Arial" pitchFamily="34" charset="0"/>
              <a:buChar char="•"/>
            </a:pPr>
            <a:r>
              <a:rPr lang="en-ZA" sz="1800" kern="0" dirty="0">
                <a:solidFill>
                  <a:srgbClr val="000000"/>
                </a:solidFill>
                <a:latin typeface="+mn-lt"/>
              </a:rPr>
              <a:t>An opportunity for Clarification questions will be provided after the briefing session</a:t>
            </a:r>
          </a:p>
          <a:p>
            <a:pPr marL="342900" indent="-342900" algn="l" defTabSz="844083">
              <a:lnSpc>
                <a:spcPct val="110000"/>
              </a:lnSpc>
              <a:spcAft>
                <a:spcPts val="900"/>
              </a:spcAft>
              <a:buFont typeface="Arial" pitchFamily="34" charset="0"/>
              <a:buChar char="•"/>
            </a:pPr>
            <a:r>
              <a:rPr kumimoji="0" lang="en-ZA" sz="1800" b="0" i="0" u="none" strike="noStrike" kern="0" cap="none" spc="0" normalizeH="0" baseline="0" noProof="0" dirty="0">
                <a:ln>
                  <a:noFill/>
                </a:ln>
                <a:solidFill>
                  <a:prstClr val="black"/>
                </a:solidFill>
                <a:effectLst/>
                <a:uLnTx/>
                <a:uFillTx/>
                <a:latin typeface="+mn-lt"/>
              </a:rPr>
              <a:t>Any additional clarification questions hereafter will only be accepted by TPT until </a:t>
            </a:r>
            <a:r>
              <a:rPr kumimoji="0" lang="en-ZA" sz="1800" b="1" i="0" u="none" strike="noStrike" kern="0" cap="none" spc="0" normalizeH="0" baseline="0" noProof="0" dirty="0">
                <a:ln>
                  <a:noFill/>
                </a:ln>
                <a:solidFill>
                  <a:prstClr val="black"/>
                </a:solidFill>
                <a:effectLst/>
                <a:uLnTx/>
                <a:uFillTx/>
                <a:latin typeface="+mn-lt"/>
              </a:rPr>
              <a:t>15h00</a:t>
            </a:r>
            <a:r>
              <a:rPr kumimoji="0" lang="en-ZA" sz="1800" b="0" i="0" u="none" strike="noStrike" kern="0" cap="none" spc="0" normalizeH="0" baseline="0" noProof="0" dirty="0">
                <a:ln>
                  <a:noFill/>
                </a:ln>
                <a:solidFill>
                  <a:prstClr val="black"/>
                </a:solidFill>
                <a:effectLst/>
                <a:uLnTx/>
                <a:uFillTx/>
                <a:latin typeface="+mn-lt"/>
              </a:rPr>
              <a:t> </a:t>
            </a:r>
            <a:r>
              <a:rPr lang="en-ZA" sz="1800" b="1" kern="0" dirty="0">
                <a:solidFill>
                  <a:prstClr val="black"/>
                </a:solidFill>
                <a:latin typeface="+mn-lt"/>
              </a:rPr>
              <a:t>on Friday, 05 April 2024.</a:t>
            </a:r>
            <a:endParaRPr kumimoji="0" lang="en-ZA" sz="1800" b="1" i="0" u="none" strike="noStrike" kern="0" cap="none" spc="0" normalizeH="0" baseline="0" noProof="0" dirty="0">
              <a:ln>
                <a:noFill/>
              </a:ln>
              <a:solidFill>
                <a:prstClr val="black"/>
              </a:solidFill>
              <a:effectLst/>
              <a:uLnTx/>
              <a:uFillTx/>
              <a:latin typeface="+mn-lt"/>
            </a:endParaRPr>
          </a:p>
          <a:p>
            <a:pPr marL="342900" marR="0" indent="-342900" algn="l" defTabSz="844083">
              <a:lnSpc>
                <a:spcPct val="110000"/>
              </a:lnSpc>
              <a:spcBef>
                <a:spcPts val="0"/>
              </a:spcBef>
              <a:spcAft>
                <a:spcPts val="900"/>
              </a:spcAft>
              <a:buFont typeface="Arial" pitchFamily="34" charset="0"/>
              <a:buChar char="•"/>
              <a:defRPr/>
            </a:pPr>
            <a:r>
              <a:rPr kumimoji="0" lang="en-ZA" sz="1800" b="0" i="0" u="none" strike="noStrike" kern="0" cap="none" spc="0" normalizeH="0" baseline="0" noProof="0" dirty="0">
                <a:ln>
                  <a:noFill/>
                </a:ln>
                <a:solidFill>
                  <a:prstClr val="black"/>
                </a:solidFill>
                <a:effectLst/>
                <a:uLnTx/>
                <a:uFillTx/>
                <a:latin typeface="+mn-lt"/>
              </a:rPr>
              <a:t>All communication subsequent to this briefing session must only be directed to</a:t>
            </a:r>
            <a:r>
              <a:rPr kumimoji="0" lang="en-ZA" sz="1800" b="0" i="0" u="none" strike="noStrike" kern="0" cap="none" spc="0" normalizeH="0" noProof="0" dirty="0">
                <a:ln>
                  <a:noFill/>
                </a:ln>
                <a:solidFill>
                  <a:prstClr val="black"/>
                </a:solidFill>
                <a:effectLst/>
                <a:uLnTx/>
                <a:uFillTx/>
                <a:latin typeface="+mn-lt"/>
              </a:rPr>
              <a:t> </a:t>
            </a:r>
            <a:r>
              <a:rPr lang="en-ZA" sz="1800" kern="0" dirty="0">
                <a:solidFill>
                  <a:prstClr val="black"/>
                </a:solidFill>
                <a:latin typeface="+mn-lt"/>
              </a:rPr>
              <a:t>Hlengiwe Zulu</a:t>
            </a:r>
            <a:r>
              <a:rPr kumimoji="0" lang="en-ZA" sz="1800" b="0" i="0" u="none" strike="noStrike" kern="0" cap="none" spc="0" normalizeH="0" noProof="0" dirty="0">
                <a:ln>
                  <a:noFill/>
                </a:ln>
                <a:solidFill>
                  <a:prstClr val="black"/>
                </a:solidFill>
                <a:effectLst/>
                <a:uLnTx/>
                <a:uFillTx/>
                <a:latin typeface="+mn-lt"/>
              </a:rPr>
              <a:t> </a:t>
            </a:r>
            <a:r>
              <a:rPr kumimoji="0" lang="en-ZA" sz="1800" b="0" i="0" u="none" strike="noStrike" kern="0" cap="none" spc="0" normalizeH="0" baseline="0" noProof="0" dirty="0">
                <a:ln>
                  <a:noFill/>
                </a:ln>
                <a:solidFill>
                  <a:prstClr val="black"/>
                </a:solidFill>
                <a:effectLst/>
                <a:uLnTx/>
                <a:uFillTx/>
                <a:latin typeface="+mn-lt"/>
              </a:rPr>
              <a:t> </a:t>
            </a:r>
            <a:r>
              <a:rPr lang="en-ZA" sz="1800" u="sng" kern="0" dirty="0">
                <a:solidFill>
                  <a:srgbClr val="00B0F0"/>
                </a:solidFill>
                <a:latin typeface="+mn-lt"/>
                <a:ea typeface="+mn-ea"/>
                <a:cs typeface="+mn-cs"/>
                <a:hlinkClick r:id="rId2">
                  <a:extLst>
                    <a:ext uri="{A12FA001-AC4F-418D-AE19-62706E023703}">
                      <ahyp:hlinkClr xmlns:ahyp="http://schemas.microsoft.com/office/drawing/2018/hyperlinkcolor" val="tx"/>
                    </a:ext>
                  </a:extLst>
                </a:hlinkClick>
              </a:rPr>
              <a:t>Hlengiwe.Zulu@transnet.net</a:t>
            </a:r>
            <a:endParaRPr lang="en-ZA" sz="1800" u="sng" kern="0" dirty="0">
              <a:solidFill>
                <a:srgbClr val="00B0F0"/>
              </a:solidFill>
              <a:latin typeface="+mn-lt"/>
              <a:ea typeface="+mn-ea"/>
              <a:cs typeface="+mn-cs"/>
            </a:endParaRPr>
          </a:p>
          <a:p>
            <a:pPr marL="342900" marR="0" indent="-342900" algn="l" defTabSz="844083">
              <a:lnSpc>
                <a:spcPct val="110000"/>
              </a:lnSpc>
              <a:spcBef>
                <a:spcPts val="0"/>
              </a:spcBef>
              <a:spcAft>
                <a:spcPts val="900"/>
              </a:spcAft>
              <a:buFont typeface="Arial" pitchFamily="34" charset="0"/>
              <a:buChar char="•"/>
              <a:defRPr/>
            </a:pPr>
            <a:r>
              <a:rPr lang="en-GB" sz="1800" kern="0" dirty="0">
                <a:solidFill>
                  <a:prstClr val="black"/>
                </a:solidFill>
                <a:latin typeface="+mn-lt"/>
              </a:rPr>
              <a:t>After the closing date of the RFP, a Respondent may only communicate with the name of delegated individual (BEC chairperson), at telephone number, email on any matter relating to its RFP Proposal</a:t>
            </a:r>
            <a:endParaRPr lang="en-ZA" sz="1800" u="sng" kern="0" dirty="0">
              <a:solidFill>
                <a:srgbClr val="00B0F0"/>
              </a:solidFill>
              <a:latin typeface="+mn-lt"/>
              <a:ea typeface="+mn-ea"/>
              <a:cs typeface="+mn-cs"/>
            </a:endParaRPr>
          </a:p>
          <a:p>
            <a:pPr marL="342900" indent="-342900" algn="l" defTabSz="844083">
              <a:lnSpc>
                <a:spcPct val="110000"/>
              </a:lnSpc>
              <a:spcAft>
                <a:spcPts val="900"/>
              </a:spcAft>
              <a:buFont typeface="Arial" pitchFamily="34" charset="0"/>
              <a:buChar char="•"/>
            </a:pPr>
            <a:r>
              <a:rPr kumimoji="0" lang="en-ZA" sz="1800" b="0" i="0" u="none" strike="noStrike" kern="0" cap="none" spc="0" normalizeH="0" baseline="0" noProof="0" dirty="0">
                <a:ln>
                  <a:noFill/>
                </a:ln>
                <a:solidFill>
                  <a:prstClr val="black"/>
                </a:solidFill>
                <a:effectLst/>
                <a:uLnTx/>
                <a:uFillTx/>
                <a:latin typeface="+mn-lt"/>
              </a:rPr>
              <a:t>A copy of this presentation will be provided to all bidders whose attendance has been confirmed by Transnet </a:t>
            </a:r>
            <a:r>
              <a:rPr lang="en-US" sz="1800" kern="0" dirty="0">
                <a:solidFill>
                  <a:prstClr val="black"/>
                </a:solidFill>
                <a:latin typeface="+mn-lt"/>
              </a:rPr>
              <a:t>and loaded onto the  Transnet e-tenders portal and National Treasury</a:t>
            </a:r>
          </a:p>
          <a:p>
            <a:pPr marL="342900" lvl="0" indent="-342900" algn="l" defTabSz="844083">
              <a:lnSpc>
                <a:spcPct val="110000"/>
              </a:lnSpc>
              <a:spcAft>
                <a:spcPts val="900"/>
              </a:spcAft>
              <a:buFont typeface="Arial" pitchFamily="34" charset="0"/>
              <a:buChar char="•"/>
            </a:pPr>
            <a:endParaRPr lang="en-ZA" sz="1800" dirty="0">
              <a:solidFill>
                <a:sysClr val="windowText" lastClr="000000"/>
              </a:solidFill>
              <a:latin typeface="+mn-lt"/>
            </a:endParaRPr>
          </a:p>
          <a:p>
            <a:endParaRPr lang="en-US" dirty="0"/>
          </a:p>
        </p:txBody>
      </p:sp>
    </p:spTree>
    <p:extLst>
      <p:ext uri="{BB962C8B-B14F-4D97-AF65-F5344CB8AC3E}">
        <p14:creationId xmlns:p14="http://schemas.microsoft.com/office/powerpoint/2010/main" val="12953624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CAEE95CE-0534-BB78-0583-46700DCC573A}"/>
              </a:ext>
            </a:extLst>
          </p:cNvPr>
          <p:cNvSpPr>
            <a:spLocks noGrp="1"/>
          </p:cNvSpPr>
          <p:nvPr>
            <p:ph type="title"/>
          </p:nvPr>
        </p:nvSpPr>
        <p:spPr>
          <a:xfrm>
            <a:off x="238665" y="375640"/>
            <a:ext cx="10822684" cy="523220"/>
          </a:xfrm>
        </p:spPr>
        <p:txBody>
          <a:bodyPr/>
          <a:lstStyle/>
          <a:p>
            <a:pPr algn="l"/>
            <a:r>
              <a:rPr lang="en-ZA" dirty="0"/>
              <a:t>TENDER PROCESS: CONTENTS OF THE RFP </a:t>
            </a:r>
            <a:endParaRPr lang="en-US" dirty="0"/>
          </a:p>
        </p:txBody>
      </p:sp>
      <p:sp>
        <p:nvSpPr>
          <p:cNvPr id="30" name="Subtitle 29">
            <a:extLst>
              <a:ext uri="{FF2B5EF4-FFF2-40B4-BE49-F238E27FC236}">
                <a16:creationId xmlns:a16="http://schemas.microsoft.com/office/drawing/2014/main" id="{2F56EA8E-0941-B701-6CDC-1D6811AC694E}"/>
              </a:ext>
            </a:extLst>
          </p:cNvPr>
          <p:cNvSpPr>
            <a:spLocks noGrp="1"/>
          </p:cNvSpPr>
          <p:nvPr>
            <p:ph type="subTitle" idx="1"/>
          </p:nvPr>
        </p:nvSpPr>
        <p:spPr>
          <a:xfrm>
            <a:off x="238665" y="783771"/>
            <a:ext cx="11225454" cy="6074229"/>
          </a:xfrm>
        </p:spPr>
        <p:txBody>
          <a:bodyPr/>
          <a:lstStyle/>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0" i="0" u="none" strike="noStrike" kern="1200" cap="none" spc="0" normalizeH="0" baseline="0" noProof="0" dirty="0">
                <a:ln>
                  <a:noFill/>
                </a:ln>
                <a:solidFill>
                  <a:srgbClr val="000000"/>
                </a:solidFill>
                <a:effectLst/>
                <a:uLnTx/>
                <a:uFillTx/>
                <a:latin typeface="+mn-lt"/>
              </a:rPr>
              <a:t>The tender documents issued by the employer comprise:</a:t>
            </a:r>
            <a:endParaRPr kumimoji="0" lang="en-ZA" sz="1800" b="0" i="0" u="none" strike="noStrike" kern="1200" cap="none" spc="0" normalizeH="0" baseline="0" noProof="0" dirty="0">
              <a:ln>
                <a:noFill/>
              </a:ln>
              <a:solidFill>
                <a:srgbClr val="000000"/>
              </a:solidFill>
              <a:effectLst/>
              <a:uLnTx/>
              <a:uFillTx/>
              <a:latin typeface="+mn-lt"/>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1" i="0" u="none" strike="noStrike" kern="1200" cap="none" spc="0" normalizeH="0" baseline="0" noProof="0" dirty="0">
                <a:ln>
                  <a:noFill/>
                </a:ln>
                <a:solidFill>
                  <a:srgbClr val="000000"/>
                </a:solidFill>
                <a:effectLst/>
                <a:uLnTx/>
                <a:uFillTx/>
                <a:latin typeface="+mn-lt"/>
              </a:rPr>
              <a:t>The Tender</a:t>
            </a:r>
            <a:endParaRPr kumimoji="0" lang="en-ZA" sz="1800" b="1" i="0" u="none" strike="noStrike" kern="1200" cap="none" spc="0" normalizeH="0" baseline="0" noProof="0" dirty="0">
              <a:ln>
                <a:noFill/>
              </a:ln>
              <a:solidFill>
                <a:srgbClr val="000000"/>
              </a:solidFill>
              <a:effectLst/>
              <a:uLnTx/>
              <a:uFillTx/>
              <a:latin typeface="+mn-lt"/>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1" i="0" u="none" strike="noStrike" kern="1200" cap="none" spc="0" normalizeH="0" baseline="0" noProof="0" dirty="0">
                <a:ln>
                  <a:noFill/>
                </a:ln>
                <a:solidFill>
                  <a:srgbClr val="000000"/>
                </a:solidFill>
                <a:effectLst/>
                <a:uLnTx/>
                <a:uFillTx/>
                <a:latin typeface="+mn-lt"/>
              </a:rPr>
              <a:t>Part T1: Tendering procedures </a:t>
            </a:r>
            <a:endParaRPr lang="en-GB" sz="1800" b="1" dirty="0">
              <a:solidFill>
                <a:srgbClr val="000000"/>
              </a:solidFill>
              <a:latin typeface="+mn-lt"/>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0" i="0" u="none" strike="noStrike" kern="1200" cap="none" spc="0" normalizeH="0" baseline="0" noProof="0" dirty="0">
                <a:ln>
                  <a:noFill/>
                </a:ln>
                <a:solidFill>
                  <a:srgbClr val="000000"/>
                </a:solidFill>
                <a:effectLst/>
                <a:uLnTx/>
                <a:uFillTx/>
                <a:latin typeface="+mn-lt"/>
              </a:rPr>
              <a:t>T1.1 Tender Notice and Invitation to Tender</a:t>
            </a:r>
            <a:endParaRPr kumimoji="0" lang="en-ZA" sz="1800" b="0" i="0" u="none" strike="noStrike" kern="1200" cap="none" spc="0" normalizeH="0" baseline="0" noProof="0" dirty="0">
              <a:ln>
                <a:noFill/>
              </a:ln>
              <a:solidFill>
                <a:srgbClr val="000000"/>
              </a:solidFill>
              <a:effectLst/>
              <a:uLnTx/>
              <a:uFillTx/>
              <a:latin typeface="+mn-lt"/>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0" i="0" u="none" strike="noStrike" kern="1200" cap="none" spc="0" normalizeH="0" baseline="0" noProof="0" dirty="0">
                <a:ln>
                  <a:noFill/>
                </a:ln>
                <a:solidFill>
                  <a:srgbClr val="000000"/>
                </a:solidFill>
                <a:effectLst/>
                <a:uLnTx/>
                <a:uFillTx/>
                <a:latin typeface="+mn-lt"/>
              </a:rPr>
              <a:t>T1.2 Tender data</a:t>
            </a:r>
            <a:endParaRPr kumimoji="0" lang="en-GB" sz="1800" b="1" i="0" u="none" strike="noStrike" kern="1200" cap="none" spc="0" normalizeH="0" baseline="0" noProof="0" dirty="0">
              <a:ln>
                <a:noFill/>
              </a:ln>
              <a:solidFill>
                <a:srgbClr val="000000"/>
              </a:solidFill>
              <a:effectLst/>
              <a:uLnTx/>
              <a:uFillTx/>
              <a:latin typeface="+mn-lt"/>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1" i="0" u="none" strike="noStrike" kern="1200" cap="none" spc="0" normalizeH="0" baseline="0" noProof="0" dirty="0">
                <a:ln>
                  <a:noFill/>
                </a:ln>
                <a:solidFill>
                  <a:srgbClr val="000000"/>
                </a:solidFill>
                <a:effectLst/>
                <a:uLnTx/>
                <a:uFillTx/>
                <a:latin typeface="+mn-lt"/>
              </a:rPr>
              <a:t>Part T2: Returnable documents</a:t>
            </a:r>
            <a:endParaRPr kumimoji="0" lang="en-ZA" sz="1800" b="0" i="0" u="none" strike="noStrike" kern="1200" cap="none" spc="0" normalizeH="0" baseline="0" noProof="0" dirty="0">
              <a:ln>
                <a:noFill/>
              </a:ln>
              <a:solidFill>
                <a:srgbClr val="000000"/>
              </a:solidFill>
              <a:effectLst/>
              <a:uLnTx/>
              <a:uFillTx/>
              <a:latin typeface="+mn-lt"/>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0" i="0" u="none" strike="noStrike" kern="1200" cap="none" spc="0" normalizeH="0" baseline="0" noProof="0" dirty="0">
                <a:ln>
                  <a:noFill/>
                </a:ln>
                <a:solidFill>
                  <a:srgbClr val="000000"/>
                </a:solidFill>
                <a:effectLst/>
                <a:uLnTx/>
                <a:uFillTx/>
                <a:latin typeface="+mn-lt"/>
              </a:rPr>
              <a:t>T2.1  List of Returnable Documents</a:t>
            </a:r>
            <a:endParaRPr kumimoji="0" lang="en-ZA" sz="1800" b="0" i="0" u="none" strike="noStrike" kern="1200" cap="none" spc="0" normalizeH="0" baseline="0" noProof="0" dirty="0">
              <a:ln>
                <a:noFill/>
              </a:ln>
              <a:solidFill>
                <a:srgbClr val="000000"/>
              </a:solidFill>
              <a:effectLst/>
              <a:uLnTx/>
              <a:uFillTx/>
              <a:latin typeface="+mn-lt"/>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0" i="0" u="none" strike="noStrike" kern="1200" cap="none" spc="0" normalizeH="0" baseline="0" noProof="0" dirty="0">
                <a:ln>
                  <a:noFill/>
                </a:ln>
                <a:solidFill>
                  <a:srgbClr val="000000"/>
                </a:solidFill>
                <a:effectLst/>
                <a:uLnTx/>
                <a:uFillTx/>
                <a:latin typeface="+mn-lt"/>
              </a:rPr>
              <a:t>T2.2  Returnable Schedules </a:t>
            </a:r>
            <a:endParaRPr kumimoji="0" lang="en-GB" sz="1800" b="1" i="0" u="none" strike="noStrike" kern="1200" cap="none" spc="0" normalizeH="0" baseline="0" noProof="0" dirty="0">
              <a:ln>
                <a:noFill/>
              </a:ln>
              <a:solidFill>
                <a:srgbClr val="000000"/>
              </a:solidFill>
              <a:effectLst/>
              <a:uLnTx/>
              <a:uFillTx/>
              <a:latin typeface="+mn-lt"/>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1" i="0" u="none" strike="noStrike" kern="1200" cap="none" spc="0" normalizeH="0" baseline="0" noProof="0" dirty="0">
                <a:ln>
                  <a:noFill/>
                </a:ln>
                <a:solidFill>
                  <a:srgbClr val="000000"/>
                </a:solidFill>
                <a:effectLst/>
                <a:uLnTx/>
                <a:uFillTx/>
                <a:latin typeface="+mn-lt"/>
              </a:rPr>
              <a:t>The Contract</a:t>
            </a:r>
            <a:endParaRPr kumimoji="0" lang="en-ZA" sz="1800" b="0" i="0" u="none" strike="noStrike" kern="1200" cap="none" spc="0" normalizeH="0" baseline="0" noProof="0" dirty="0">
              <a:ln>
                <a:noFill/>
              </a:ln>
              <a:solidFill>
                <a:srgbClr val="000000"/>
              </a:solidFill>
              <a:effectLst/>
              <a:uLnTx/>
              <a:uFillTx/>
              <a:latin typeface="+mn-lt"/>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1" i="0" u="none" strike="noStrike" kern="1200" cap="none" spc="0" normalizeH="0" baseline="0" noProof="0" dirty="0">
                <a:ln>
                  <a:noFill/>
                </a:ln>
                <a:solidFill>
                  <a:srgbClr val="000000"/>
                </a:solidFill>
                <a:effectLst/>
                <a:uLnTx/>
                <a:uFillTx/>
                <a:latin typeface="+mn-lt"/>
              </a:rPr>
              <a:t>Part C1: Agreements and contract data</a:t>
            </a:r>
            <a:endParaRPr kumimoji="0" lang="en-ZA" sz="1800" b="0" i="0" u="none" strike="noStrike" kern="1200" cap="none" spc="0" normalizeH="0" baseline="0" noProof="0" dirty="0">
              <a:ln>
                <a:noFill/>
              </a:ln>
              <a:solidFill>
                <a:srgbClr val="000000"/>
              </a:solidFill>
              <a:effectLst/>
              <a:uLnTx/>
              <a:uFillTx/>
              <a:latin typeface="+mn-lt"/>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0" i="0" u="none" strike="noStrike" kern="1200" cap="none" spc="0" normalizeH="0" baseline="0" noProof="0" dirty="0">
                <a:ln>
                  <a:noFill/>
                </a:ln>
                <a:solidFill>
                  <a:srgbClr val="000000"/>
                </a:solidFill>
                <a:effectLst/>
                <a:uLnTx/>
                <a:uFillTx/>
                <a:latin typeface="+mn-lt"/>
              </a:rPr>
              <a:t>C1.1 Forms of offer and acceptance</a:t>
            </a: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0" i="0" u="none" strike="noStrike" kern="1200" cap="none" spc="0" normalizeH="0" baseline="0" noProof="0" dirty="0">
                <a:ln>
                  <a:noFill/>
                </a:ln>
                <a:solidFill>
                  <a:srgbClr val="000000"/>
                </a:solidFill>
                <a:effectLst/>
                <a:uLnTx/>
                <a:uFillTx/>
                <a:latin typeface="+mn-lt"/>
              </a:rPr>
              <a:t>C1.2 Contract data (part 1 &amp; 2)</a:t>
            </a: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lang="en-GB" sz="1800" dirty="0">
                <a:solidFill>
                  <a:srgbClr val="000000"/>
                </a:solidFill>
                <a:latin typeface="+mn-lt"/>
              </a:rPr>
              <a:t>C1.3 Forms of Securities</a:t>
            </a:r>
            <a:endParaRPr kumimoji="0" lang="en-GB" sz="1800" b="1" i="0" u="none" strike="noStrike" kern="1200" cap="none" spc="0" normalizeH="0" baseline="0" noProof="0" dirty="0">
              <a:ln>
                <a:noFill/>
              </a:ln>
              <a:solidFill>
                <a:srgbClr val="000000"/>
              </a:solidFill>
              <a:effectLst/>
              <a:uLnTx/>
              <a:uFillTx/>
              <a:latin typeface="+mn-lt"/>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1" i="0" u="none" strike="noStrike" kern="1200" cap="none" spc="0" normalizeH="0" baseline="0" noProof="0" dirty="0">
                <a:ln>
                  <a:noFill/>
                </a:ln>
                <a:solidFill>
                  <a:srgbClr val="000000"/>
                </a:solidFill>
                <a:effectLst/>
                <a:uLnTx/>
                <a:uFillTx/>
                <a:latin typeface="+mn-lt"/>
              </a:rPr>
              <a:t>Part C2: Pricing data</a:t>
            </a:r>
            <a:endParaRPr kumimoji="0" lang="en-ZA" sz="1800" b="0" i="0" u="none" strike="noStrike" kern="1200" cap="none" spc="0" normalizeH="0" baseline="0" noProof="0" dirty="0">
              <a:ln>
                <a:noFill/>
              </a:ln>
              <a:solidFill>
                <a:srgbClr val="000000"/>
              </a:solidFill>
              <a:effectLst/>
              <a:uLnTx/>
              <a:uFillTx/>
              <a:latin typeface="+mn-lt"/>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0" i="0" u="none" strike="noStrike" kern="1200" cap="none" spc="0" normalizeH="0" baseline="0" noProof="0" dirty="0">
                <a:ln>
                  <a:noFill/>
                </a:ln>
                <a:solidFill>
                  <a:srgbClr val="000000"/>
                </a:solidFill>
                <a:effectLst/>
                <a:uLnTx/>
                <a:uFillTx/>
                <a:latin typeface="+mn-lt"/>
              </a:rPr>
              <a:t>C2.1 Pricing Instructions</a:t>
            </a:r>
            <a:endParaRPr kumimoji="0" lang="en-ZA" sz="1800" b="0" i="0" u="none" strike="noStrike" kern="1200" cap="none" spc="0" normalizeH="0" baseline="0" noProof="0" dirty="0">
              <a:ln>
                <a:noFill/>
              </a:ln>
              <a:solidFill>
                <a:srgbClr val="000000"/>
              </a:solidFill>
              <a:effectLst/>
              <a:uLnTx/>
              <a:uFillTx/>
              <a:latin typeface="+mn-lt"/>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0" i="0" u="none" strike="noStrike" kern="1200" cap="none" spc="0" normalizeH="0" baseline="0" noProof="0" dirty="0">
                <a:ln>
                  <a:noFill/>
                </a:ln>
                <a:solidFill>
                  <a:srgbClr val="000000"/>
                </a:solidFill>
                <a:effectLst/>
                <a:uLnTx/>
                <a:uFillTx/>
                <a:latin typeface="+mn-lt"/>
              </a:rPr>
              <a:t>C2.2 </a:t>
            </a:r>
            <a:r>
              <a:rPr lang="en-GB" sz="1800" noProof="0" dirty="0">
                <a:solidFill>
                  <a:srgbClr val="000000"/>
                </a:solidFill>
                <a:latin typeface="+mn-lt"/>
              </a:rPr>
              <a:t>Bill of Quantities</a:t>
            </a:r>
            <a:endParaRPr kumimoji="0" lang="en-ZA" sz="1800" b="0" i="0" u="none" strike="noStrike" kern="1200" cap="none" spc="0" normalizeH="0" baseline="0" noProof="0" dirty="0">
              <a:ln>
                <a:noFill/>
              </a:ln>
              <a:solidFill>
                <a:srgbClr val="000000"/>
              </a:solidFill>
              <a:effectLst/>
              <a:uLnTx/>
              <a:uFillTx/>
              <a:latin typeface="+mn-lt"/>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1" i="0" u="none" strike="noStrike" kern="1200" cap="none" spc="0" normalizeH="0" baseline="0" noProof="0" dirty="0">
                <a:ln>
                  <a:noFill/>
                </a:ln>
                <a:solidFill>
                  <a:srgbClr val="000000"/>
                </a:solidFill>
                <a:effectLst/>
                <a:uLnTx/>
                <a:uFillTx/>
                <a:latin typeface="+mn-lt"/>
              </a:rPr>
              <a:t>Part C3: Scope of work</a:t>
            </a:r>
            <a:endParaRPr kumimoji="0" lang="en-ZA" sz="1800" b="0" i="0" u="none" strike="noStrike" kern="1200" cap="none" spc="0" normalizeH="0" baseline="0" noProof="0" dirty="0">
              <a:ln>
                <a:noFill/>
              </a:ln>
              <a:solidFill>
                <a:srgbClr val="000000"/>
              </a:solidFill>
              <a:effectLst/>
              <a:uLnTx/>
              <a:uFillTx/>
              <a:latin typeface="+mn-lt"/>
            </a:endParaRPr>
          </a:p>
          <a:p>
            <a:pPr marL="0" marR="0" lvl="0" indent="0" algn="l" defTabSz="844083" rtl="0" eaLnBrk="1" fontAlgn="auto" latinLnBrk="0" hangingPunct="1">
              <a:lnSpc>
                <a:spcPct val="110000"/>
              </a:lnSpc>
              <a:spcBef>
                <a:spcPts val="0"/>
              </a:spcBef>
              <a:spcAft>
                <a:spcPts val="0"/>
              </a:spcAft>
              <a:buClrTx/>
              <a:buSzTx/>
              <a:buFont typeface="Arial" pitchFamily="34" charset="0"/>
              <a:buNone/>
              <a:tabLst/>
              <a:defRPr/>
            </a:pPr>
            <a:r>
              <a:rPr kumimoji="0" lang="en-GB" sz="1800" b="0" i="0" u="none" strike="noStrike" kern="1200" cap="none" spc="0" normalizeH="0" baseline="0" noProof="0" dirty="0">
                <a:ln>
                  <a:noFill/>
                </a:ln>
                <a:solidFill>
                  <a:srgbClr val="000000"/>
                </a:solidFill>
                <a:effectLst/>
                <a:uLnTx/>
                <a:uFillTx/>
                <a:latin typeface="+mn-lt"/>
              </a:rPr>
              <a:t>C3.1 </a:t>
            </a:r>
            <a:r>
              <a:rPr lang="en-GB" sz="1800" dirty="0">
                <a:solidFill>
                  <a:srgbClr val="000000"/>
                </a:solidFill>
                <a:latin typeface="+mn-lt"/>
              </a:rPr>
              <a:t>Scope of Services </a:t>
            </a:r>
          </a:p>
          <a:p>
            <a:endParaRPr lang="en-US" dirty="0"/>
          </a:p>
        </p:txBody>
      </p:sp>
    </p:spTree>
    <p:extLst>
      <p:ext uri="{BB962C8B-B14F-4D97-AF65-F5344CB8AC3E}">
        <p14:creationId xmlns:p14="http://schemas.microsoft.com/office/powerpoint/2010/main" val="3754004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a:extLst>
              <a:ext uri="{FF2B5EF4-FFF2-40B4-BE49-F238E27FC236}">
                <a16:creationId xmlns:a16="http://schemas.microsoft.com/office/drawing/2014/main" id="{CAEE95CE-0534-BB78-0583-46700DCC573A}"/>
              </a:ext>
            </a:extLst>
          </p:cNvPr>
          <p:cNvSpPr>
            <a:spLocks noGrp="1"/>
          </p:cNvSpPr>
          <p:nvPr>
            <p:ph type="title"/>
          </p:nvPr>
        </p:nvSpPr>
        <p:spPr>
          <a:xfrm>
            <a:off x="195121" y="440955"/>
            <a:ext cx="10822684" cy="369332"/>
          </a:xfrm>
        </p:spPr>
        <p:txBody>
          <a:bodyPr/>
          <a:lstStyle/>
          <a:p>
            <a:pPr algn="l"/>
            <a:r>
              <a:rPr lang="en-US" sz="1800" b="1" i="0" u="none" strike="noStrike" baseline="0" dirty="0">
                <a:latin typeface="Tahoma-Bold"/>
              </a:rPr>
              <a:t>T1.1 TENDER NOTICE AND INVITATION TO TENDER</a:t>
            </a:r>
            <a:endParaRPr lang="en-US" dirty="0"/>
          </a:p>
        </p:txBody>
      </p:sp>
      <p:sp>
        <p:nvSpPr>
          <p:cNvPr id="30" name="Subtitle 29">
            <a:extLst>
              <a:ext uri="{FF2B5EF4-FFF2-40B4-BE49-F238E27FC236}">
                <a16:creationId xmlns:a16="http://schemas.microsoft.com/office/drawing/2014/main" id="{2F56EA8E-0941-B701-6CDC-1D6811AC694E}"/>
              </a:ext>
            </a:extLst>
          </p:cNvPr>
          <p:cNvSpPr>
            <a:spLocks noGrp="1"/>
          </p:cNvSpPr>
          <p:nvPr>
            <p:ph type="subTitle" idx="1"/>
          </p:nvPr>
        </p:nvSpPr>
        <p:spPr>
          <a:xfrm>
            <a:off x="641435" y="914401"/>
            <a:ext cx="10822684" cy="4626428"/>
          </a:xfrm>
          <a:ln>
            <a:solidFill>
              <a:schemeClr val="tx1"/>
            </a:solidFill>
          </a:ln>
        </p:spPr>
        <p:txBody>
          <a:bodyPr/>
          <a:lstStyle/>
          <a:p>
            <a:pPr marL="342900" indent="-342900" algn="l" defTabSz="844083">
              <a:lnSpc>
                <a:spcPct val="150000"/>
              </a:lnSpc>
              <a:spcAft>
                <a:spcPts val="900"/>
              </a:spcAft>
              <a:buFont typeface="Arial" pitchFamily="34" charset="0"/>
              <a:buChar char="•"/>
            </a:pPr>
            <a:r>
              <a:rPr lang="en-US" sz="1800" dirty="0">
                <a:solidFill>
                  <a:sysClr val="windowText" lastClr="000000"/>
                </a:solidFill>
                <a:latin typeface="+mn-lt"/>
              </a:rPr>
              <a:t>For the supply and installation of Bulk Electrical supply including Transformers, Switchgears, MCC and sub-station buildings at </a:t>
            </a:r>
            <a:r>
              <a:rPr lang="en-ZA" sz="1800" dirty="0">
                <a:solidFill>
                  <a:sysClr val="windowText" lastClr="000000"/>
                </a:solidFill>
                <a:latin typeface="+mn-lt"/>
              </a:rPr>
              <a:t>Saldanha Bulk Terminal for Transnet Soc Ltd </a:t>
            </a:r>
            <a:r>
              <a:rPr lang="en-US" sz="1800" dirty="0">
                <a:solidFill>
                  <a:sysClr val="windowText" lastClr="000000"/>
                </a:solidFill>
                <a:latin typeface="+mn-lt"/>
              </a:rPr>
              <a:t>(reg.no.1990/000900/30) operating as Transnet Port Terminals, (hereinafter referred to as “TPT”).</a:t>
            </a:r>
          </a:p>
          <a:p>
            <a:pPr marL="342900" indent="-342900" algn="l" defTabSz="844083">
              <a:lnSpc>
                <a:spcPct val="150000"/>
              </a:lnSpc>
              <a:spcAft>
                <a:spcPts val="900"/>
              </a:spcAft>
              <a:buFont typeface="Arial" pitchFamily="34" charset="0"/>
              <a:buChar char="•"/>
            </a:pPr>
            <a:r>
              <a:rPr lang="en-US" sz="1800" b="1" dirty="0">
                <a:solidFill>
                  <a:schemeClr val="tx1"/>
                </a:solidFill>
                <a:latin typeface="+mn-lt"/>
              </a:rPr>
              <a:t>A Compulsory Tender Clarification Meeting- </a:t>
            </a:r>
            <a:r>
              <a:rPr lang="en-US" sz="1800" i="0" u="none" strike="noStrike" baseline="0" dirty="0">
                <a:solidFill>
                  <a:schemeClr val="tx1"/>
                </a:solidFill>
                <a:latin typeface="+mn-lt"/>
              </a:rPr>
              <a:t>Tenderers are required to bring this Returnable Schedule T2.2-01 to the Compulsory Tender Clarification Meeting to be signed </a:t>
            </a:r>
            <a:r>
              <a:rPr lang="en-ZA" sz="1800" i="0" u="none" strike="noStrike" baseline="0" dirty="0">
                <a:solidFill>
                  <a:schemeClr val="tx1"/>
                </a:solidFill>
                <a:latin typeface="+mn-lt"/>
              </a:rPr>
              <a:t>by the Employer’s Representative.</a:t>
            </a:r>
          </a:p>
          <a:p>
            <a:pPr algn="l"/>
            <a:r>
              <a:rPr lang="en-ZA" sz="1800" b="1" dirty="0">
                <a:solidFill>
                  <a:schemeClr val="tx1"/>
                </a:solidFill>
                <a:latin typeface="+mn-lt"/>
              </a:rPr>
              <a:t>Tender Closing Date-  </a:t>
            </a:r>
            <a:r>
              <a:rPr lang="en-US" sz="1800" i="0" u="none" strike="noStrike" baseline="0" dirty="0">
                <a:solidFill>
                  <a:schemeClr val="tx1"/>
                </a:solidFill>
                <a:latin typeface="Tahoma-Bold"/>
              </a:rPr>
              <a:t>12:00pm on (12 April 2024</a:t>
            </a:r>
            <a:r>
              <a:rPr lang="en-US" sz="1800" i="0" u="none" strike="noStrike" baseline="0" dirty="0">
                <a:solidFill>
                  <a:schemeClr val="tx1"/>
                </a:solidFill>
                <a:latin typeface="+mn-lt"/>
              </a:rPr>
              <a:t>), If a tender is late, it will not be accepted for </a:t>
            </a:r>
            <a:r>
              <a:rPr lang="en-ZA" sz="1800" i="0" u="none" strike="noStrike" baseline="0" dirty="0">
                <a:solidFill>
                  <a:schemeClr val="tx1"/>
                </a:solidFill>
                <a:latin typeface="+mn-lt"/>
              </a:rPr>
              <a:t>consideration.</a:t>
            </a:r>
            <a:endParaRPr lang="en-US" dirty="0">
              <a:solidFill>
                <a:schemeClr val="tx1"/>
              </a:solidFill>
              <a:latin typeface="+mn-lt"/>
            </a:endParaRPr>
          </a:p>
        </p:txBody>
      </p:sp>
    </p:spTree>
    <p:extLst>
      <p:ext uri="{BB962C8B-B14F-4D97-AF65-F5344CB8AC3E}">
        <p14:creationId xmlns:p14="http://schemas.microsoft.com/office/powerpoint/2010/main" val="12588945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F06CC7B9-FD54-0878-4672-81E9D1EBFE5D}"/>
              </a:ext>
            </a:extLst>
          </p:cNvPr>
          <p:cNvPicPr>
            <a:picLocks noGrp="1" noChangeAspect="1"/>
          </p:cNvPicPr>
          <p:nvPr>
            <p:ph type="pic" sz="quarter" idx="15"/>
          </p:nvPr>
        </p:nvPicPr>
        <p:blipFill rotWithShape="1">
          <a:blip r:embed="rId2" cstate="email">
            <a:extLst>
              <a:ext uri="{28A0092B-C50C-407E-A947-70E740481C1C}">
                <a14:useLocalDpi xmlns:a14="http://schemas.microsoft.com/office/drawing/2010/main"/>
              </a:ext>
            </a:extLst>
          </a:blip>
          <a:srcRect/>
          <a:stretch/>
        </p:blipFill>
        <p:spPr>
          <a:xfrm>
            <a:off x="6172200" y="1777883"/>
            <a:ext cx="6019800" cy="3902075"/>
          </a:xfrm>
        </p:spPr>
      </p:pic>
      <p:sp>
        <p:nvSpPr>
          <p:cNvPr id="20" name="Subtitle 19">
            <a:extLst>
              <a:ext uri="{FF2B5EF4-FFF2-40B4-BE49-F238E27FC236}">
                <a16:creationId xmlns:a16="http://schemas.microsoft.com/office/drawing/2014/main" id="{5742A685-F6F4-B863-53D0-2CA3E8BAE011}"/>
              </a:ext>
            </a:extLst>
          </p:cNvPr>
          <p:cNvSpPr>
            <a:spLocks noGrp="1"/>
          </p:cNvSpPr>
          <p:nvPr>
            <p:ph type="subTitle" idx="1"/>
          </p:nvPr>
        </p:nvSpPr>
        <p:spPr>
          <a:xfrm>
            <a:off x="287791" y="910156"/>
            <a:ext cx="6417809" cy="5098757"/>
          </a:xfrm>
        </p:spPr>
        <p:txBody>
          <a:bodyPr/>
          <a:lstStyle/>
          <a:p>
            <a:pPr algn="l"/>
            <a:r>
              <a:rPr lang="en-US" sz="1800" b="0" i="0" u="none" strike="noStrike" baseline="0" dirty="0">
                <a:solidFill>
                  <a:srgbClr val="000000"/>
                </a:solidFill>
                <a:latin typeface="Tahoma" panose="020B0604030504040204" pitchFamily="34" charset="0"/>
              </a:rPr>
              <a:t>The Transnet e-Tender Submission Portal can be accessed as follows:</a:t>
            </a:r>
          </a:p>
          <a:p>
            <a:pPr algn="l"/>
            <a:r>
              <a:rPr lang="en-US" sz="1800" b="0" i="0" u="none" strike="noStrike" baseline="0" dirty="0">
                <a:solidFill>
                  <a:srgbClr val="000000"/>
                </a:solidFill>
                <a:latin typeface="Tahoma" panose="020B0604030504040204" pitchFamily="34" charset="0"/>
              </a:rPr>
              <a:t>Log on to the Transnet </a:t>
            </a:r>
            <a:r>
              <a:rPr lang="en-US" sz="1800" b="0" i="0" u="none" strike="noStrike" baseline="0" dirty="0" err="1">
                <a:solidFill>
                  <a:srgbClr val="000000"/>
                </a:solidFill>
                <a:latin typeface="Tahoma" panose="020B0604030504040204" pitchFamily="34" charset="0"/>
              </a:rPr>
              <a:t>eTenders</a:t>
            </a:r>
            <a:r>
              <a:rPr lang="en-US" sz="1800" b="0" i="0" u="none" strike="noStrike" baseline="0" dirty="0">
                <a:solidFill>
                  <a:srgbClr val="000000"/>
                </a:solidFill>
                <a:latin typeface="Tahoma" panose="020B0604030504040204" pitchFamily="34" charset="0"/>
              </a:rPr>
              <a:t> management platform website</a:t>
            </a:r>
          </a:p>
          <a:p>
            <a:pPr algn="l"/>
            <a:r>
              <a:rPr lang="en-ZA" sz="1800" b="0" i="0" u="none" strike="noStrike" baseline="0" dirty="0">
                <a:solidFill>
                  <a:srgbClr val="000000"/>
                </a:solidFill>
                <a:latin typeface="Tahoma" panose="020B0604030504040204" pitchFamily="34" charset="0"/>
              </a:rPr>
              <a:t>(</a:t>
            </a:r>
            <a:r>
              <a:rPr lang="en-ZA" sz="1800" b="0" i="0" u="none" strike="noStrike" baseline="0" dirty="0">
                <a:solidFill>
                  <a:srgbClr val="5B9CD6"/>
                </a:solidFill>
                <a:latin typeface="Tahoma" panose="020B0604030504040204" pitchFamily="34" charset="0"/>
              </a:rPr>
              <a:t>https://transnetetenders.azurewebsites.net</a:t>
            </a:r>
            <a:r>
              <a:rPr lang="en-ZA" sz="1800" b="0" i="0" u="none" strike="noStrike" baseline="0" dirty="0">
                <a:solidFill>
                  <a:srgbClr val="000000"/>
                </a:solidFill>
                <a:latin typeface="Tahoma" panose="020B0604030504040204" pitchFamily="34" charset="0"/>
              </a:rPr>
              <a:t>);</a:t>
            </a:r>
          </a:p>
          <a:p>
            <a:pPr algn="l"/>
            <a:r>
              <a:rPr lang="en-US" sz="1800" b="0" i="0" u="none" strike="noStrike" baseline="0" dirty="0">
                <a:solidFill>
                  <a:srgbClr val="000000"/>
                </a:solidFill>
                <a:latin typeface="Wingdings-Regular"/>
              </a:rPr>
              <a:t>▪ </a:t>
            </a:r>
            <a:r>
              <a:rPr lang="en-US" sz="1800" b="0" i="0" u="none" strike="noStrike" baseline="0" dirty="0">
                <a:solidFill>
                  <a:srgbClr val="000000"/>
                </a:solidFill>
                <a:latin typeface="Tahoma" panose="020B0604030504040204" pitchFamily="34" charset="0"/>
              </a:rPr>
              <a:t>Click on “ADVERTISED TENDERS” to view advertised tenders;</a:t>
            </a:r>
          </a:p>
          <a:p>
            <a:pPr algn="l"/>
            <a:r>
              <a:rPr lang="en-US" sz="1800" b="0" i="0" u="none" strike="noStrike" baseline="0" dirty="0">
                <a:solidFill>
                  <a:srgbClr val="000000"/>
                </a:solidFill>
                <a:latin typeface="Wingdings-Regular"/>
              </a:rPr>
              <a:t>▪ </a:t>
            </a:r>
            <a:r>
              <a:rPr lang="en-US" sz="1800" b="0" i="0" u="none" strike="noStrike" baseline="0" dirty="0">
                <a:solidFill>
                  <a:srgbClr val="000000"/>
                </a:solidFill>
                <a:latin typeface="Tahoma" panose="020B0604030504040204" pitchFamily="34" charset="0"/>
              </a:rPr>
              <a:t>Click on “SIGN IN/REGISTER – for bidder to register their information (must fill in all</a:t>
            </a:r>
          </a:p>
          <a:p>
            <a:pPr algn="l"/>
            <a:r>
              <a:rPr lang="en-ZA" sz="1800" b="0" i="0" u="none" strike="noStrike" baseline="0" dirty="0">
                <a:solidFill>
                  <a:srgbClr val="000000"/>
                </a:solidFill>
                <a:latin typeface="Tahoma" panose="020B0604030504040204" pitchFamily="34" charset="0"/>
              </a:rPr>
              <a:t>mandatory information);</a:t>
            </a:r>
          </a:p>
          <a:p>
            <a:pPr algn="l"/>
            <a:r>
              <a:rPr lang="en-US" sz="1800" b="0" i="0" u="none" strike="noStrike" baseline="0" dirty="0">
                <a:solidFill>
                  <a:srgbClr val="000000"/>
                </a:solidFill>
                <a:latin typeface="Wingdings-Regular"/>
              </a:rPr>
              <a:t>▪ </a:t>
            </a:r>
            <a:r>
              <a:rPr lang="en-US" sz="1800" b="0" i="0" u="none" strike="noStrike" baseline="0" dirty="0">
                <a:solidFill>
                  <a:srgbClr val="000000"/>
                </a:solidFill>
                <a:latin typeface="Tahoma" panose="020B0604030504040204" pitchFamily="34" charset="0"/>
              </a:rPr>
              <a:t>Click on “SIGN IN/REGISTER” - to sign in if already registered;</a:t>
            </a:r>
          </a:p>
          <a:p>
            <a:pPr algn="l"/>
            <a:r>
              <a:rPr lang="en-US" sz="1800" b="0" i="0" u="none" strike="noStrike" baseline="0" dirty="0">
                <a:solidFill>
                  <a:srgbClr val="000000"/>
                </a:solidFill>
                <a:latin typeface="Wingdings-Regular"/>
              </a:rPr>
              <a:t>▪ </a:t>
            </a:r>
            <a:r>
              <a:rPr lang="en-US" sz="1800" b="0" i="0" u="none" strike="noStrike" baseline="0" dirty="0">
                <a:solidFill>
                  <a:srgbClr val="000000"/>
                </a:solidFill>
                <a:latin typeface="Tahoma" panose="020B0604030504040204" pitchFamily="34" charset="0"/>
              </a:rPr>
              <a:t>Toggle (click to switch) the “Log an Intent” button to submit a bid;</a:t>
            </a:r>
          </a:p>
          <a:p>
            <a:pPr algn="l"/>
            <a:r>
              <a:rPr lang="en-US" sz="1800" b="0" i="0" u="none" strike="noStrike" baseline="0" dirty="0">
                <a:solidFill>
                  <a:srgbClr val="000000"/>
                </a:solidFill>
                <a:latin typeface="Wingdings-Regular"/>
              </a:rPr>
              <a:t>▪ </a:t>
            </a:r>
            <a:r>
              <a:rPr lang="en-US" sz="1800" b="0" i="0" u="none" strike="noStrike" baseline="0" dirty="0">
                <a:solidFill>
                  <a:srgbClr val="000000"/>
                </a:solidFill>
                <a:latin typeface="Tahoma" panose="020B0604030504040204" pitchFamily="34" charset="0"/>
              </a:rPr>
              <a:t>Submit bid documents by uploading them into the system against each tender selected</a:t>
            </a:r>
            <a:endParaRPr lang="en-US" sz="1600" dirty="0"/>
          </a:p>
        </p:txBody>
      </p:sp>
      <p:sp>
        <p:nvSpPr>
          <p:cNvPr id="19" name="Title 18">
            <a:extLst>
              <a:ext uri="{FF2B5EF4-FFF2-40B4-BE49-F238E27FC236}">
                <a16:creationId xmlns:a16="http://schemas.microsoft.com/office/drawing/2014/main" id="{5A7DDE8A-B245-7F8D-DA6F-32478A5A14BA}"/>
              </a:ext>
            </a:extLst>
          </p:cNvPr>
          <p:cNvSpPr>
            <a:spLocks noGrp="1"/>
          </p:cNvSpPr>
          <p:nvPr>
            <p:ph type="title"/>
          </p:nvPr>
        </p:nvSpPr>
        <p:spPr>
          <a:xfrm>
            <a:off x="287792" y="306974"/>
            <a:ext cx="10079725" cy="369332"/>
          </a:xfrm>
        </p:spPr>
        <p:txBody>
          <a:bodyPr/>
          <a:lstStyle/>
          <a:p>
            <a:r>
              <a:rPr lang="en-ZA" sz="1800" b="1" i="0" u="none" strike="noStrike" baseline="0" dirty="0">
                <a:latin typeface="Tahoma-Bold"/>
              </a:rPr>
              <a:t>TENDER SUBMISSION</a:t>
            </a:r>
            <a:endParaRPr lang="en-US" dirty="0"/>
          </a:p>
        </p:txBody>
      </p:sp>
    </p:spTree>
    <p:extLst>
      <p:ext uri="{BB962C8B-B14F-4D97-AF65-F5344CB8AC3E}">
        <p14:creationId xmlns:p14="http://schemas.microsoft.com/office/powerpoint/2010/main" val="33307697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8">
            <a:extLst>
              <a:ext uri="{FF2B5EF4-FFF2-40B4-BE49-F238E27FC236}">
                <a16:creationId xmlns:a16="http://schemas.microsoft.com/office/drawing/2014/main" id="{60B04ECC-F774-9376-3F2A-C6854A9CA491}"/>
              </a:ext>
            </a:extLst>
          </p:cNvPr>
          <p:cNvSpPr>
            <a:spLocks noGrp="1"/>
          </p:cNvSpPr>
          <p:nvPr>
            <p:ph type="title"/>
          </p:nvPr>
        </p:nvSpPr>
        <p:spPr>
          <a:xfrm>
            <a:off x="284163" y="296863"/>
            <a:ext cx="10079037" cy="368300"/>
          </a:xfrm>
        </p:spPr>
        <p:txBody>
          <a:bodyPr/>
          <a:lstStyle/>
          <a:p>
            <a:r>
              <a:rPr lang="en-ZA" sz="1800" b="1" i="0" u="none" strike="noStrike" baseline="0" dirty="0">
                <a:latin typeface="Tahoma-Bold"/>
              </a:rPr>
              <a:t>TENDER SUBMISSION</a:t>
            </a:r>
            <a:endParaRPr lang="en-US" dirty="0"/>
          </a:p>
        </p:txBody>
      </p:sp>
      <p:sp>
        <p:nvSpPr>
          <p:cNvPr id="4" name="TextBox 3">
            <a:extLst>
              <a:ext uri="{FF2B5EF4-FFF2-40B4-BE49-F238E27FC236}">
                <a16:creationId xmlns:a16="http://schemas.microsoft.com/office/drawing/2014/main" id="{D2B164E0-8825-D026-DB1F-8E6938607D83}"/>
              </a:ext>
            </a:extLst>
          </p:cNvPr>
          <p:cNvSpPr txBox="1"/>
          <p:nvPr/>
        </p:nvSpPr>
        <p:spPr>
          <a:xfrm>
            <a:off x="424543" y="952810"/>
            <a:ext cx="11342914" cy="2528897"/>
          </a:xfrm>
          <a:prstGeom prst="rect">
            <a:avLst/>
          </a:prstGeom>
          <a:noFill/>
        </p:spPr>
        <p:txBody>
          <a:bodyPr wrap="square">
            <a:spAutoFit/>
          </a:bodyPr>
          <a:lstStyle/>
          <a:p>
            <a:pPr algn="just">
              <a:lnSpc>
                <a:spcPct val="150000"/>
              </a:lnSpc>
            </a:pPr>
            <a:r>
              <a:rPr lang="en-US" sz="1800" b="1" i="0" u="none" strike="noStrike" dirty="0">
                <a:latin typeface="Tahoma-Bold"/>
              </a:rPr>
              <a:t>Tenderers are required to ensure that electronic bid submissions are done at least a day before the closing date to prevent issues which they may encounter due to their internet speed, bandwidth or the size of the number of uploads they are submitting. Transnet will not be held liable for any challenges experienced by bidders as a result of the technical challenges. Please do not wait for the last hour to submit. A Tenderer can upload 30mb per upload and</a:t>
            </a:r>
          </a:p>
          <a:p>
            <a:pPr algn="just">
              <a:lnSpc>
                <a:spcPct val="150000"/>
              </a:lnSpc>
            </a:pPr>
            <a:r>
              <a:rPr lang="en-ZA" sz="1800" b="1" i="0" u="none" strike="noStrike" dirty="0">
                <a:latin typeface="Tahoma-Bold"/>
              </a:rPr>
              <a:t>multiple uploads are permitted.</a:t>
            </a:r>
            <a:endParaRPr lang="en-ZA" b="1" dirty="0"/>
          </a:p>
        </p:txBody>
      </p:sp>
    </p:spTree>
    <p:extLst>
      <p:ext uri="{BB962C8B-B14F-4D97-AF65-F5344CB8AC3E}">
        <p14:creationId xmlns:p14="http://schemas.microsoft.com/office/powerpoint/2010/main" val="3517031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96792F3D-2A99-8543-62FE-449CEB69A988}"/>
              </a:ext>
            </a:extLst>
          </p:cNvPr>
          <p:cNvSpPr>
            <a:spLocks noGrp="1"/>
          </p:cNvSpPr>
          <p:nvPr>
            <p:ph type="body" sz="quarter" idx="16"/>
          </p:nvPr>
        </p:nvSpPr>
        <p:spPr>
          <a:xfrm>
            <a:off x="283474" y="477064"/>
            <a:ext cx="10079724" cy="378950"/>
          </a:xfrm>
        </p:spPr>
        <p:txBody>
          <a:bodyPr/>
          <a:lstStyle/>
          <a:p>
            <a:r>
              <a:rPr lang="en-ZA" sz="1800" b="1" i="0" u="none" strike="noStrike" baseline="0" dirty="0">
                <a:solidFill>
                  <a:schemeClr val="tx1"/>
                </a:solidFill>
                <a:latin typeface="+mj-lt"/>
              </a:rPr>
              <a:t>T1.2 TENDER DATA</a:t>
            </a:r>
            <a:endParaRPr lang="en-US" dirty="0">
              <a:solidFill>
                <a:schemeClr val="tx1"/>
              </a:solidFill>
              <a:latin typeface="+mj-lt"/>
            </a:endParaRPr>
          </a:p>
        </p:txBody>
      </p:sp>
      <p:sp>
        <p:nvSpPr>
          <p:cNvPr id="7" name="Text Placeholder 3">
            <a:extLst>
              <a:ext uri="{FF2B5EF4-FFF2-40B4-BE49-F238E27FC236}">
                <a16:creationId xmlns:a16="http://schemas.microsoft.com/office/drawing/2014/main" id="{3DC99868-94D2-58DB-A00D-08C36A63E9CF}"/>
              </a:ext>
            </a:extLst>
          </p:cNvPr>
          <p:cNvSpPr txBox="1">
            <a:spLocks/>
          </p:cNvSpPr>
          <p:nvPr/>
        </p:nvSpPr>
        <p:spPr>
          <a:xfrm>
            <a:off x="4216720" y="1778000"/>
            <a:ext cx="3376055" cy="3902075"/>
          </a:xfrm>
          <a:prstGeom prst="rect">
            <a:avLst/>
          </a:prstGeom>
        </p:spPr>
        <p:txBody>
          <a:bodyPr/>
          <a:lstStyle>
            <a:lvl1pPr marL="0" indent="0" algn="l" defTabSz="779173" rtl="0" eaLnBrk="1" latinLnBrk="0" hangingPunct="1">
              <a:lnSpc>
                <a:spcPct val="150000"/>
              </a:lnSpc>
              <a:spcBef>
                <a:spcPts val="1023"/>
              </a:spcBef>
              <a:spcAft>
                <a:spcPts val="341"/>
              </a:spcAft>
              <a:buFont typeface="Arial" panose="020B0604020202020204"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1pPr>
            <a:lvl2pPr marL="86575" indent="0" algn="l" defTabSz="779173" rtl="0" eaLnBrk="1" latinLnBrk="0" hangingPunct="1">
              <a:lnSpc>
                <a:spcPct val="110000"/>
              </a:lnSpc>
              <a:spcBef>
                <a:spcPts val="171"/>
              </a:spcBef>
              <a:spcAft>
                <a:spcPts val="171"/>
              </a:spcAft>
              <a:buFont typeface="Arial" pitchFamily="34" charset="0"/>
              <a:buNone/>
              <a:defRPr sz="18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2pPr>
            <a:lvl3pPr marL="370647" indent="0" algn="l" defTabSz="779173" rtl="0" eaLnBrk="1" latinLnBrk="0" hangingPunct="1">
              <a:lnSpc>
                <a:spcPct val="110000"/>
              </a:lnSpc>
              <a:spcBef>
                <a:spcPts val="85"/>
              </a:spcBef>
              <a:spcAft>
                <a:spcPts val="171"/>
              </a:spcAft>
              <a:buFont typeface="Arial" pitchFamily="34" charset="0"/>
              <a:buNone/>
              <a:defRPr sz="16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3pPr>
            <a:lvl4pPr marL="608728"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4pPr>
            <a:lvl5pPr marL="921209" indent="0" algn="l" defTabSz="779173" rtl="0" eaLnBrk="1" latinLnBrk="0" hangingPunct="1">
              <a:lnSpc>
                <a:spcPct val="110000"/>
              </a:lnSpc>
              <a:spcBef>
                <a:spcPts val="85"/>
              </a:spcBef>
              <a:spcAft>
                <a:spcPts val="171"/>
              </a:spcAft>
              <a:buFont typeface="Arial" pitchFamily="34" charset="0"/>
              <a:buNone/>
              <a:defRPr sz="1400" b="0" i="0" kern="1200">
                <a:solidFill>
                  <a:schemeClr val="tx1">
                    <a:lumMod val="65000"/>
                    <a:lumOff val="35000"/>
                  </a:schemeClr>
                </a:solidFill>
                <a:latin typeface="Apex New Book" panose="02010600040501010103" pitchFamily="2" charset="77"/>
                <a:ea typeface="Apex New Book" panose="02010600040501010103" pitchFamily="2" charset="77"/>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endParaRPr lang="en-US"/>
          </a:p>
        </p:txBody>
      </p:sp>
      <p:sp>
        <p:nvSpPr>
          <p:cNvPr id="53" name="TextBox 52">
            <a:extLst>
              <a:ext uri="{FF2B5EF4-FFF2-40B4-BE49-F238E27FC236}">
                <a16:creationId xmlns:a16="http://schemas.microsoft.com/office/drawing/2014/main" id="{88619EE6-CD71-25A2-529A-446E3CBCB329}"/>
              </a:ext>
            </a:extLst>
          </p:cNvPr>
          <p:cNvSpPr txBox="1"/>
          <p:nvPr/>
        </p:nvSpPr>
        <p:spPr>
          <a:xfrm>
            <a:off x="283474" y="851502"/>
            <a:ext cx="6096000" cy="369332"/>
          </a:xfrm>
          <a:prstGeom prst="rect">
            <a:avLst/>
          </a:prstGeom>
          <a:noFill/>
        </p:spPr>
        <p:txBody>
          <a:bodyPr wrap="square">
            <a:spAutoFit/>
          </a:bodyPr>
          <a:lstStyle/>
          <a:p>
            <a:r>
              <a:rPr lang="en-ZA" dirty="0"/>
              <a:t>EVALUATION METHODOLOGY</a:t>
            </a:r>
          </a:p>
        </p:txBody>
      </p:sp>
      <p:grpSp>
        <p:nvGrpSpPr>
          <p:cNvPr id="135" name="Group 134">
            <a:extLst>
              <a:ext uri="{FF2B5EF4-FFF2-40B4-BE49-F238E27FC236}">
                <a16:creationId xmlns:a16="http://schemas.microsoft.com/office/drawing/2014/main" id="{E6C60F53-B0FA-08B5-15EB-BB685DDEA236}"/>
              </a:ext>
            </a:extLst>
          </p:cNvPr>
          <p:cNvGrpSpPr/>
          <p:nvPr/>
        </p:nvGrpSpPr>
        <p:grpSpPr>
          <a:xfrm>
            <a:off x="407340" y="1307986"/>
            <a:ext cx="10565460" cy="4372089"/>
            <a:chOff x="-347198" y="-29776"/>
            <a:chExt cx="10584870" cy="5594623"/>
          </a:xfrm>
        </p:grpSpPr>
        <p:sp>
          <p:nvSpPr>
            <p:cNvPr id="136" name="Rectangle 135">
              <a:extLst>
                <a:ext uri="{FF2B5EF4-FFF2-40B4-BE49-F238E27FC236}">
                  <a16:creationId xmlns:a16="http://schemas.microsoft.com/office/drawing/2014/main" id="{3F21F627-6736-BE8C-9B13-0D1B7A7F0683}"/>
                </a:ext>
              </a:extLst>
            </p:cNvPr>
            <p:cNvSpPr/>
            <p:nvPr/>
          </p:nvSpPr>
          <p:spPr>
            <a:xfrm>
              <a:off x="-347198" y="0"/>
              <a:ext cx="10519519" cy="427573"/>
            </a:xfrm>
            <a:prstGeom prst="rect">
              <a:avLst/>
            </a:prstGeom>
            <a:solidFill>
              <a:srgbClr val="9BBB59">
                <a:lumMod val="60000"/>
                <a:lumOff val="40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37" name="TextBox 16">
              <a:extLst>
                <a:ext uri="{FF2B5EF4-FFF2-40B4-BE49-F238E27FC236}">
                  <a16:creationId xmlns:a16="http://schemas.microsoft.com/office/drawing/2014/main" id="{096F4BFC-BD9A-BBF6-1FBB-98B245E65DC0}"/>
                </a:ext>
              </a:extLst>
            </p:cNvPr>
            <p:cNvSpPr txBox="1">
              <a:spLocks noChangeArrowheads="1"/>
            </p:cNvSpPr>
            <p:nvPr/>
          </p:nvSpPr>
          <p:spPr bwMode="auto">
            <a:xfrm>
              <a:off x="3087812" y="533162"/>
              <a:ext cx="1053058" cy="228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Tahoma" panose="020B0604030504040204" pitchFamily="34" charset="0"/>
                  <a:ea typeface="Times New Roman" panose="02020603050405020304" pitchFamily="18" charset="0"/>
                </a:rPr>
                <a:t>Step 3</a:t>
              </a:r>
              <a:endParaRPr kumimoji="0" lang="en-US" sz="1200" b="0"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sp>
          <p:nvSpPr>
            <p:cNvPr id="138" name="TextBox 3">
              <a:extLst>
                <a:ext uri="{FF2B5EF4-FFF2-40B4-BE49-F238E27FC236}">
                  <a16:creationId xmlns:a16="http://schemas.microsoft.com/office/drawing/2014/main" id="{19625E80-7F93-E7F1-B86C-0C7914BA4DE9}"/>
                </a:ext>
              </a:extLst>
            </p:cNvPr>
            <p:cNvSpPr txBox="1">
              <a:spLocks noChangeArrowheads="1"/>
            </p:cNvSpPr>
            <p:nvPr/>
          </p:nvSpPr>
          <p:spPr bwMode="auto">
            <a:xfrm>
              <a:off x="-190707" y="754368"/>
              <a:ext cx="1257373" cy="48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Tahoma" panose="020B0604030504040204" pitchFamily="34" charset="0"/>
                  <a:ea typeface="Times New Roman" panose="02020603050405020304" pitchFamily="18" charset="0"/>
                </a:rPr>
                <a:t>Administrative responsiveness</a:t>
              </a:r>
              <a:endParaRPr kumimoji="0" lang="en-US" sz="1200" b="0"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sp>
          <p:nvSpPr>
            <p:cNvPr id="139" name="TextBox 3">
              <a:extLst>
                <a:ext uri="{FF2B5EF4-FFF2-40B4-BE49-F238E27FC236}">
                  <a16:creationId xmlns:a16="http://schemas.microsoft.com/office/drawing/2014/main" id="{0D1A0802-DAEC-C5B3-C38D-3068016C33D3}"/>
                </a:ext>
              </a:extLst>
            </p:cNvPr>
            <p:cNvSpPr txBox="1">
              <a:spLocks noChangeArrowheads="1"/>
            </p:cNvSpPr>
            <p:nvPr/>
          </p:nvSpPr>
          <p:spPr bwMode="auto">
            <a:xfrm>
              <a:off x="1099419" y="754368"/>
              <a:ext cx="1342897" cy="48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Tahoma" panose="020B0604030504040204" pitchFamily="34" charset="0"/>
                  <a:ea typeface="Times New Roman" panose="02020603050405020304" pitchFamily="18" charset="0"/>
                </a:rPr>
                <a:t>Substantive responsiveness</a:t>
              </a:r>
              <a:endParaRPr kumimoji="0" lang="en-US" sz="1200" b="0"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sp>
          <p:nvSpPr>
            <p:cNvPr id="140" name="TextBox 3">
              <a:extLst>
                <a:ext uri="{FF2B5EF4-FFF2-40B4-BE49-F238E27FC236}">
                  <a16:creationId xmlns:a16="http://schemas.microsoft.com/office/drawing/2014/main" id="{6BCBB792-144A-3468-01F5-01294A9A368F}"/>
                </a:ext>
              </a:extLst>
            </p:cNvPr>
            <p:cNvSpPr txBox="1">
              <a:spLocks noChangeArrowheads="1"/>
            </p:cNvSpPr>
            <p:nvPr/>
          </p:nvSpPr>
          <p:spPr bwMode="auto">
            <a:xfrm>
              <a:off x="4819487" y="1076552"/>
              <a:ext cx="1035722" cy="48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Weighted scoring / 100***</a:t>
              </a:r>
              <a:endParaRPr kumimoji="0" lang="en-US" sz="12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sp>
          <p:nvSpPr>
            <p:cNvPr id="141" name="AutoShape 13">
              <a:extLst>
                <a:ext uri="{FF2B5EF4-FFF2-40B4-BE49-F238E27FC236}">
                  <a16:creationId xmlns:a16="http://schemas.microsoft.com/office/drawing/2014/main" id="{15D2203D-2079-95CE-5ED2-3808B25B7582}"/>
                </a:ext>
              </a:extLst>
            </p:cNvPr>
            <p:cNvSpPr>
              <a:spLocks noChangeArrowheads="1"/>
            </p:cNvSpPr>
            <p:nvPr/>
          </p:nvSpPr>
          <p:spPr bwMode="auto">
            <a:xfrm>
              <a:off x="149565" y="2060032"/>
              <a:ext cx="470148" cy="960160"/>
            </a:xfrm>
            <a:prstGeom prst="flowChartMultidocument">
              <a:avLst/>
            </a:prstGeom>
            <a:gradFill rotWithShape="0">
              <a:gsLst>
                <a:gs pos="0">
                  <a:srgbClr val="FFFFFF"/>
                </a:gs>
                <a:gs pos="100000">
                  <a:srgbClr val="E5B8B7"/>
                </a:gs>
              </a:gsLst>
              <a:lin ang="5400000" scaled="1"/>
            </a:gradFill>
            <a:ln w="12700">
              <a:solidFill>
                <a:srgbClr val="D99594"/>
              </a:solidFill>
              <a:miter lim="800000"/>
              <a:headEnd/>
              <a:tailEnd/>
            </a:ln>
            <a:effectLst>
              <a:outerShdw dist="28398" dir="3806097" algn="ctr" rotWithShape="0">
                <a:srgbClr val="622423">
                  <a:alpha val="50000"/>
                </a:srgb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2" name="Right Arrow 28824">
              <a:extLst>
                <a:ext uri="{FF2B5EF4-FFF2-40B4-BE49-F238E27FC236}">
                  <a16:creationId xmlns:a16="http://schemas.microsoft.com/office/drawing/2014/main" id="{8923C6E9-36FB-2ABF-D0F6-DAAC14398E95}"/>
                </a:ext>
              </a:extLst>
            </p:cNvPr>
            <p:cNvSpPr>
              <a:spLocks noChangeArrowheads="1"/>
            </p:cNvSpPr>
            <p:nvPr/>
          </p:nvSpPr>
          <p:spPr bwMode="auto">
            <a:xfrm>
              <a:off x="895050" y="2345091"/>
              <a:ext cx="272546" cy="287999"/>
            </a:xfrm>
            <a:prstGeom prst="rightArrow">
              <a:avLst>
                <a:gd name="adj1" fmla="val 50000"/>
                <a:gd name="adj2" fmla="val 49905"/>
              </a:avLst>
            </a:prstGeom>
            <a:solidFill>
              <a:srgbClr val="FAC090"/>
            </a:solidFill>
            <a:ln w="9525">
              <a:solidFill>
                <a:srgbClr val="321212"/>
              </a:solidFill>
              <a:miter lim="800000"/>
              <a:headEnd/>
              <a:tailEnd/>
            </a:ln>
          </p:spPr>
          <p:txBody>
            <a:bodyPr lIns="27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 name="AutoShape 15">
              <a:extLst>
                <a:ext uri="{FF2B5EF4-FFF2-40B4-BE49-F238E27FC236}">
                  <a16:creationId xmlns:a16="http://schemas.microsoft.com/office/drawing/2014/main" id="{A315228D-14A9-302B-0164-09BDBC19821D}"/>
                </a:ext>
              </a:extLst>
            </p:cNvPr>
            <p:cNvSpPr>
              <a:spLocks noChangeArrowheads="1"/>
            </p:cNvSpPr>
            <p:nvPr/>
          </p:nvSpPr>
          <p:spPr bwMode="auto">
            <a:xfrm rot="3171260">
              <a:off x="1491509" y="2066409"/>
              <a:ext cx="236680" cy="655348"/>
            </a:xfrm>
            <a:prstGeom prst="lightningBolt">
              <a:avLst/>
            </a:prstGeom>
            <a:solidFill>
              <a:srgbClr val="FFFFFF"/>
            </a:solidFill>
            <a:ln w="63500" cmpd="thickThin">
              <a:solidFill>
                <a:srgbClr val="C0504D"/>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 name="Right Arrow 28826">
              <a:extLst>
                <a:ext uri="{FF2B5EF4-FFF2-40B4-BE49-F238E27FC236}">
                  <a16:creationId xmlns:a16="http://schemas.microsoft.com/office/drawing/2014/main" id="{30EC64FA-06D4-9590-212D-BD7E2BA617E5}"/>
                </a:ext>
              </a:extLst>
            </p:cNvPr>
            <p:cNvSpPr>
              <a:spLocks noChangeArrowheads="1"/>
            </p:cNvSpPr>
            <p:nvPr/>
          </p:nvSpPr>
          <p:spPr bwMode="auto">
            <a:xfrm>
              <a:off x="1992770" y="2327268"/>
              <a:ext cx="272546" cy="287999"/>
            </a:xfrm>
            <a:prstGeom prst="rightArrow">
              <a:avLst>
                <a:gd name="adj1" fmla="val 50000"/>
                <a:gd name="adj2" fmla="val 50127"/>
              </a:avLst>
            </a:prstGeom>
            <a:solidFill>
              <a:srgbClr val="FAC090"/>
            </a:solidFill>
            <a:ln w="9525">
              <a:solidFill>
                <a:srgbClr val="321212"/>
              </a:solidFill>
              <a:miter lim="800000"/>
              <a:headEnd/>
              <a:tailEnd/>
            </a:ln>
          </p:spPr>
          <p:txBody>
            <a:bodyPr lIns="27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 name="TextBox 3">
              <a:extLst>
                <a:ext uri="{FF2B5EF4-FFF2-40B4-BE49-F238E27FC236}">
                  <a16:creationId xmlns:a16="http://schemas.microsoft.com/office/drawing/2014/main" id="{C57AA006-3CFB-A99C-5D17-F796984195C7}"/>
                </a:ext>
              </a:extLst>
            </p:cNvPr>
            <p:cNvSpPr txBox="1">
              <a:spLocks noChangeArrowheads="1"/>
            </p:cNvSpPr>
            <p:nvPr/>
          </p:nvSpPr>
          <p:spPr bwMode="auto">
            <a:xfrm>
              <a:off x="-79709" y="1186398"/>
              <a:ext cx="1004444"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Tahoma" panose="020B0604030504040204" pitchFamily="34" charset="0"/>
                  <a:ea typeface="Times New Roman" panose="02020603050405020304" pitchFamily="18" charset="0"/>
                </a:rPr>
                <a:t>Returnable documents/ schedules</a:t>
              </a:r>
              <a:endParaRPr kumimoji="0" lang="en-US" sz="1200" b="0"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sp>
          <p:nvSpPr>
            <p:cNvPr id="146" name="TextBox 3">
              <a:extLst>
                <a:ext uri="{FF2B5EF4-FFF2-40B4-BE49-F238E27FC236}">
                  <a16:creationId xmlns:a16="http://schemas.microsoft.com/office/drawing/2014/main" id="{B5D73E5D-2AC8-9265-F6CD-C34877055DFD}"/>
                </a:ext>
              </a:extLst>
            </p:cNvPr>
            <p:cNvSpPr txBox="1">
              <a:spLocks noChangeArrowheads="1"/>
            </p:cNvSpPr>
            <p:nvPr/>
          </p:nvSpPr>
          <p:spPr bwMode="auto">
            <a:xfrm>
              <a:off x="1277469" y="1265638"/>
              <a:ext cx="1087118"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Tahoma" panose="020B0604030504040204" pitchFamily="34" charset="0"/>
                  <a:ea typeface="Times New Roman" panose="02020603050405020304" pitchFamily="18" charset="0"/>
                </a:rPr>
                <a:t>Pre-qualification</a:t>
              </a:r>
              <a:endParaRPr kumimoji="0" lang="en-US" sz="1200" b="0"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sp>
          <p:nvSpPr>
            <p:cNvPr id="147" name="TextBox 8">
              <a:extLst>
                <a:ext uri="{FF2B5EF4-FFF2-40B4-BE49-F238E27FC236}">
                  <a16:creationId xmlns:a16="http://schemas.microsoft.com/office/drawing/2014/main" id="{193443FC-7624-D796-CBAF-058A4C2E8550}"/>
                </a:ext>
              </a:extLst>
            </p:cNvPr>
            <p:cNvSpPr txBox="1">
              <a:spLocks noChangeArrowheads="1"/>
            </p:cNvSpPr>
            <p:nvPr/>
          </p:nvSpPr>
          <p:spPr bwMode="auto">
            <a:xfrm>
              <a:off x="2770187" y="3485956"/>
              <a:ext cx="1277711" cy="1295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rPr>
                <a:t>Technical / Functional criteria &amp; weightings must be stipulated in the tender document</a:t>
              </a:r>
              <a:endParaRPr kumimoji="0" lang="en-US" sz="12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sp>
          <p:nvSpPr>
            <p:cNvPr id="148" name="TextBox 8">
              <a:extLst>
                <a:ext uri="{FF2B5EF4-FFF2-40B4-BE49-F238E27FC236}">
                  <a16:creationId xmlns:a16="http://schemas.microsoft.com/office/drawing/2014/main" id="{A44EA068-93D9-A1E3-A321-BBFCB658A1C9}"/>
                </a:ext>
              </a:extLst>
            </p:cNvPr>
            <p:cNvSpPr txBox="1">
              <a:spLocks noChangeArrowheads="1"/>
            </p:cNvSpPr>
            <p:nvPr/>
          </p:nvSpPr>
          <p:spPr bwMode="auto">
            <a:xfrm>
              <a:off x="4888040" y="3241492"/>
              <a:ext cx="1035721" cy="840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rPr>
                <a:t>WEIGHTED  SCORE</a:t>
              </a:r>
              <a:endParaRPr kumimoji="0" lang="en-US" sz="12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sp>
          <p:nvSpPr>
            <p:cNvPr id="149" name="Rectangle 148">
              <a:extLst>
                <a:ext uri="{FF2B5EF4-FFF2-40B4-BE49-F238E27FC236}">
                  <a16:creationId xmlns:a16="http://schemas.microsoft.com/office/drawing/2014/main" id="{AE544AF6-5843-550D-2D8F-216D732EE5B4}"/>
                </a:ext>
              </a:extLst>
            </p:cNvPr>
            <p:cNvSpPr/>
            <p:nvPr/>
          </p:nvSpPr>
          <p:spPr bwMode="auto">
            <a:xfrm>
              <a:off x="3003969" y="2471268"/>
              <a:ext cx="487130" cy="1009329"/>
            </a:xfrm>
            <a:prstGeom prst="rect">
              <a:avLst/>
            </a:prstGeom>
            <a:solidFill>
              <a:srgbClr val="C00000"/>
            </a:solidFill>
            <a:ln w="25400" cap="flat" cmpd="sng" algn="ctr">
              <a:solidFill>
                <a:srgbClr val="4F81BD">
                  <a:shade val="50000"/>
                </a:srgbClr>
              </a:solid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50" name="Rectangle 149">
              <a:extLst>
                <a:ext uri="{FF2B5EF4-FFF2-40B4-BE49-F238E27FC236}">
                  <a16:creationId xmlns:a16="http://schemas.microsoft.com/office/drawing/2014/main" id="{763A0E92-E138-6E2D-2B32-EAD05E282E17}"/>
                </a:ext>
              </a:extLst>
            </p:cNvPr>
            <p:cNvSpPr/>
            <p:nvPr/>
          </p:nvSpPr>
          <p:spPr bwMode="auto">
            <a:xfrm>
              <a:off x="2987292" y="2170915"/>
              <a:ext cx="518745" cy="373619"/>
            </a:xfrm>
            <a:prstGeom prst="rect">
              <a:avLst/>
            </a:prstGeom>
            <a:noFill/>
            <a:ln w="25400" cap="flat" cmpd="sng" algn="ctr">
              <a:solidFill>
                <a:srgbClr val="4F81BD">
                  <a:shade val="50000"/>
                </a:srgbClr>
              </a:solidFill>
              <a:prstDash val="soli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51" name="Right Arrow 28833">
              <a:extLst>
                <a:ext uri="{FF2B5EF4-FFF2-40B4-BE49-F238E27FC236}">
                  <a16:creationId xmlns:a16="http://schemas.microsoft.com/office/drawing/2014/main" id="{03A4C553-8226-D687-CE61-A77326CE835F}"/>
                </a:ext>
              </a:extLst>
            </p:cNvPr>
            <p:cNvSpPr>
              <a:spLocks noChangeArrowheads="1"/>
            </p:cNvSpPr>
            <p:nvPr/>
          </p:nvSpPr>
          <p:spPr bwMode="auto">
            <a:xfrm>
              <a:off x="3877121" y="2278285"/>
              <a:ext cx="272546" cy="287999"/>
            </a:xfrm>
            <a:prstGeom prst="rightArrow">
              <a:avLst>
                <a:gd name="adj1" fmla="val 50000"/>
                <a:gd name="adj2" fmla="val 49905"/>
              </a:avLst>
            </a:prstGeom>
            <a:solidFill>
              <a:srgbClr val="FAC090"/>
            </a:solidFill>
            <a:ln w="9525">
              <a:solidFill>
                <a:srgbClr val="321212"/>
              </a:solidFill>
              <a:miter lim="800000"/>
              <a:headEnd/>
              <a:tailEnd/>
            </a:ln>
          </p:spPr>
          <p:txBody>
            <a:bodyPr lIns="27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 name="TextBox 3">
              <a:extLst>
                <a:ext uri="{FF2B5EF4-FFF2-40B4-BE49-F238E27FC236}">
                  <a16:creationId xmlns:a16="http://schemas.microsoft.com/office/drawing/2014/main" id="{52F96EFE-81BA-B13A-850E-208C7DF0B9C6}"/>
                </a:ext>
              </a:extLst>
            </p:cNvPr>
            <p:cNvSpPr txBox="1">
              <a:spLocks noChangeArrowheads="1"/>
            </p:cNvSpPr>
            <p:nvPr/>
          </p:nvSpPr>
          <p:spPr bwMode="auto">
            <a:xfrm>
              <a:off x="2827491" y="1195976"/>
              <a:ext cx="1331545" cy="86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rPr>
                <a:t>Functionality/ technical**</a:t>
              </a:r>
              <a:endParaRPr kumimoji="0" lang="en-US" sz="12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Times New Roman" panose="02020603050405020304" pitchFamily="18" charset="0"/>
              </a:endParaRPr>
            </a:p>
            <a:p>
              <a:pPr marL="0" marR="0" lvl="0" indent="0" algn="ctr" defTabSz="914400" eaLnBrk="1" fontAlgn="base" latinLnBrk="0" hangingPunct="1">
                <a:lnSpc>
                  <a:spcPct val="100000"/>
                </a:lnSpc>
                <a:spcBef>
                  <a:spcPts val="0"/>
                </a:spcBef>
                <a:spcAft>
                  <a:spcPts val="0"/>
                </a:spcAft>
                <a:buClrTx/>
                <a:buSzTx/>
                <a:buFontTx/>
                <a:buNone/>
                <a:tabLst/>
                <a:defRPr/>
              </a:pPr>
              <a:r>
                <a:rPr lang="en-US" sz="900" b="1"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7</a:t>
              </a: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0 </a:t>
              </a:r>
              <a:r>
                <a:rPr kumimoji="0" lang="en-US" sz="800" b="1"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rPr>
                <a:t>points</a:t>
              </a:r>
              <a:endParaRPr kumimoji="0" lang="en-US" sz="12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Times New Roman" panose="02020603050405020304" pitchFamily="18" charset="0"/>
              </a:endParaRPr>
            </a:p>
            <a:p>
              <a:pPr marL="0" marR="0" lvl="0" indent="0" algn="ctr" defTabSz="91440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rPr>
                <a:t>Minimum Threshold</a:t>
              </a:r>
              <a:endParaRPr kumimoji="0" lang="en-US" sz="12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sp>
          <p:nvSpPr>
            <p:cNvPr id="153" name="TextBox 16">
              <a:extLst>
                <a:ext uri="{FF2B5EF4-FFF2-40B4-BE49-F238E27FC236}">
                  <a16:creationId xmlns:a16="http://schemas.microsoft.com/office/drawing/2014/main" id="{5D75F6E6-CB58-EE61-D2C9-469BB25108B0}"/>
                </a:ext>
              </a:extLst>
            </p:cNvPr>
            <p:cNvSpPr txBox="1">
              <a:spLocks noChangeArrowheads="1"/>
            </p:cNvSpPr>
            <p:nvPr/>
          </p:nvSpPr>
          <p:spPr bwMode="auto">
            <a:xfrm>
              <a:off x="1305178" y="499473"/>
              <a:ext cx="844763"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Tahoma" panose="020B0604030504040204" pitchFamily="34" charset="0"/>
                  <a:ea typeface="Times New Roman" panose="02020603050405020304" pitchFamily="18" charset="0"/>
                </a:rPr>
                <a:t>Step 2</a:t>
              </a:r>
              <a:endParaRPr kumimoji="0" lang="en-US" sz="1200" b="0"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sp>
          <p:nvSpPr>
            <p:cNvPr id="154" name="TextBox 16">
              <a:extLst>
                <a:ext uri="{FF2B5EF4-FFF2-40B4-BE49-F238E27FC236}">
                  <a16:creationId xmlns:a16="http://schemas.microsoft.com/office/drawing/2014/main" id="{AE07A05B-3816-1D35-A38B-28F4F8731E16}"/>
                </a:ext>
              </a:extLst>
            </p:cNvPr>
            <p:cNvSpPr txBox="1">
              <a:spLocks noChangeArrowheads="1"/>
            </p:cNvSpPr>
            <p:nvPr/>
          </p:nvSpPr>
          <p:spPr bwMode="auto">
            <a:xfrm>
              <a:off x="149565" y="495815"/>
              <a:ext cx="931381"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Tahoma" panose="020B0604030504040204" pitchFamily="34" charset="0"/>
                  <a:ea typeface="Times New Roman" panose="02020603050405020304" pitchFamily="18" charset="0"/>
                </a:rPr>
                <a:t>Step 1</a:t>
              </a:r>
              <a:endParaRPr kumimoji="0" lang="en-US" sz="1200" b="0"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sp>
          <p:nvSpPr>
            <p:cNvPr id="155" name="TextBox 16">
              <a:extLst>
                <a:ext uri="{FF2B5EF4-FFF2-40B4-BE49-F238E27FC236}">
                  <a16:creationId xmlns:a16="http://schemas.microsoft.com/office/drawing/2014/main" id="{15A87A47-55B6-CAA2-1ABB-F4AA6D10D598}"/>
                </a:ext>
              </a:extLst>
            </p:cNvPr>
            <p:cNvSpPr txBox="1">
              <a:spLocks noChangeArrowheads="1"/>
            </p:cNvSpPr>
            <p:nvPr/>
          </p:nvSpPr>
          <p:spPr bwMode="auto">
            <a:xfrm>
              <a:off x="4994173" y="548590"/>
              <a:ext cx="842522"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Step 4</a:t>
              </a:r>
              <a:endParaRPr kumimoji="0" lang="en-US" sz="1200" b="0"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cxnSp>
          <p:nvCxnSpPr>
            <p:cNvPr id="156" name="Straight Connector 155">
              <a:extLst>
                <a:ext uri="{FF2B5EF4-FFF2-40B4-BE49-F238E27FC236}">
                  <a16:creationId xmlns:a16="http://schemas.microsoft.com/office/drawing/2014/main" id="{6F08C91E-7020-1A4F-5933-23579B159DFE}"/>
                </a:ext>
              </a:extLst>
            </p:cNvPr>
            <p:cNvCxnSpPr>
              <a:cxnSpLocks noChangeShapeType="1"/>
            </p:cNvCxnSpPr>
            <p:nvPr/>
          </p:nvCxnSpPr>
          <p:spPr bwMode="auto">
            <a:xfrm>
              <a:off x="4582217" y="476858"/>
              <a:ext cx="21836" cy="5087989"/>
            </a:xfrm>
            <a:prstGeom prst="line">
              <a:avLst/>
            </a:prstGeom>
            <a:noFill/>
            <a:ln w="22225" algn="ctr">
              <a:solidFill>
                <a:sysClr val="windowText" lastClr="000000"/>
              </a:solidFill>
              <a:prstDash val="dash"/>
              <a:round/>
              <a:headEnd/>
              <a:tailEnd/>
            </a:ln>
            <a:extLst>
              <a:ext uri="{909E8E84-426E-40DD-AFC4-6F175D3DCCD1}">
                <a14:hiddenFill xmlns:a14="http://schemas.microsoft.com/office/drawing/2010/main">
                  <a:noFill/>
                </a14:hiddenFill>
              </a:ext>
            </a:extLst>
          </p:spPr>
        </p:cxnSp>
        <p:sp>
          <p:nvSpPr>
            <p:cNvPr id="157" name="TextBox 16">
              <a:extLst>
                <a:ext uri="{FF2B5EF4-FFF2-40B4-BE49-F238E27FC236}">
                  <a16:creationId xmlns:a16="http://schemas.microsoft.com/office/drawing/2014/main" id="{27E09007-411B-0B24-4649-738CE80E7A53}"/>
                </a:ext>
              </a:extLst>
            </p:cNvPr>
            <p:cNvSpPr txBox="1">
              <a:spLocks noChangeArrowheads="1"/>
            </p:cNvSpPr>
            <p:nvPr/>
          </p:nvSpPr>
          <p:spPr bwMode="auto">
            <a:xfrm>
              <a:off x="69425" y="-29776"/>
              <a:ext cx="1760688" cy="48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STAGE 1: PREQUALIFICATION</a:t>
              </a:r>
              <a:endParaRPr kumimoji="0" lang="en-US" sz="1200" b="0"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sp>
          <p:nvSpPr>
            <p:cNvPr id="158" name="TextBox 16">
              <a:extLst>
                <a:ext uri="{FF2B5EF4-FFF2-40B4-BE49-F238E27FC236}">
                  <a16:creationId xmlns:a16="http://schemas.microsoft.com/office/drawing/2014/main" id="{7EB67574-9BD4-B179-B086-101B2E75159C}"/>
                </a:ext>
              </a:extLst>
            </p:cNvPr>
            <p:cNvSpPr txBox="1">
              <a:spLocks noChangeArrowheads="1"/>
            </p:cNvSpPr>
            <p:nvPr/>
          </p:nvSpPr>
          <p:spPr bwMode="auto">
            <a:xfrm>
              <a:off x="3042146" y="47030"/>
              <a:ext cx="1116890"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STAGE 2</a:t>
              </a:r>
              <a:endParaRPr kumimoji="0" lang="en-US" sz="1200" b="0"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sp>
          <p:nvSpPr>
            <p:cNvPr id="159" name="TextBox 16">
              <a:extLst>
                <a:ext uri="{FF2B5EF4-FFF2-40B4-BE49-F238E27FC236}">
                  <a16:creationId xmlns:a16="http://schemas.microsoft.com/office/drawing/2014/main" id="{378101DF-D17C-7B4B-ED63-72A424071362}"/>
                </a:ext>
              </a:extLst>
            </p:cNvPr>
            <p:cNvSpPr txBox="1">
              <a:spLocks noChangeArrowheads="1"/>
            </p:cNvSpPr>
            <p:nvPr/>
          </p:nvSpPr>
          <p:spPr bwMode="auto">
            <a:xfrm>
              <a:off x="6919403" y="69671"/>
              <a:ext cx="1229812"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STAGE 3</a:t>
              </a:r>
              <a:endParaRPr kumimoji="0" lang="en-US" sz="1200" b="0"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cxnSp>
          <p:nvCxnSpPr>
            <p:cNvPr id="160" name="Straight Connector 159">
              <a:extLst>
                <a:ext uri="{FF2B5EF4-FFF2-40B4-BE49-F238E27FC236}">
                  <a16:creationId xmlns:a16="http://schemas.microsoft.com/office/drawing/2014/main" id="{E2841BCA-FEBC-F636-1D50-19FD7A6D3B34}"/>
                </a:ext>
              </a:extLst>
            </p:cNvPr>
            <p:cNvCxnSpPr>
              <a:cxnSpLocks noChangeShapeType="1"/>
            </p:cNvCxnSpPr>
            <p:nvPr/>
          </p:nvCxnSpPr>
          <p:spPr bwMode="auto">
            <a:xfrm>
              <a:off x="-190709" y="476858"/>
              <a:ext cx="10428381" cy="0"/>
            </a:xfrm>
            <a:prstGeom prst="line">
              <a:avLst/>
            </a:prstGeom>
            <a:noFill/>
            <a:ln w="22225" algn="ctr">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1" name="Right Arrow 28844">
              <a:extLst>
                <a:ext uri="{FF2B5EF4-FFF2-40B4-BE49-F238E27FC236}">
                  <a16:creationId xmlns:a16="http://schemas.microsoft.com/office/drawing/2014/main" id="{D776BA98-3EB4-C135-BB22-6232FAD65F34}"/>
                </a:ext>
              </a:extLst>
            </p:cNvPr>
            <p:cNvSpPr>
              <a:spLocks noChangeArrowheads="1"/>
            </p:cNvSpPr>
            <p:nvPr/>
          </p:nvSpPr>
          <p:spPr bwMode="auto">
            <a:xfrm>
              <a:off x="6307237" y="2183268"/>
              <a:ext cx="272546" cy="287999"/>
            </a:xfrm>
            <a:prstGeom prst="rightArrow">
              <a:avLst>
                <a:gd name="adj1" fmla="val 50000"/>
                <a:gd name="adj2" fmla="val 49905"/>
              </a:avLst>
            </a:prstGeom>
            <a:solidFill>
              <a:srgbClr val="FAC090"/>
            </a:solidFill>
            <a:ln w="9525">
              <a:solidFill>
                <a:srgbClr val="321212"/>
              </a:solidFill>
              <a:miter lim="800000"/>
              <a:headEnd/>
              <a:tailEnd/>
            </a:ln>
          </p:spPr>
          <p:txBody>
            <a:bodyPr lIns="27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2" name="Rectangle 161">
              <a:extLst>
                <a:ext uri="{FF2B5EF4-FFF2-40B4-BE49-F238E27FC236}">
                  <a16:creationId xmlns:a16="http://schemas.microsoft.com/office/drawing/2014/main" id="{B24507AA-B023-59DB-4F76-12CA449FC106}"/>
                </a:ext>
              </a:extLst>
            </p:cNvPr>
            <p:cNvSpPr/>
            <p:nvPr/>
          </p:nvSpPr>
          <p:spPr bwMode="auto">
            <a:xfrm>
              <a:off x="8829267" y="1895548"/>
              <a:ext cx="1069951" cy="1177219"/>
            </a:xfrm>
            <a:prstGeom prst="rect">
              <a:avLst/>
            </a:prstGeom>
            <a:solidFill>
              <a:sysClr val="window" lastClr="FFFFFF"/>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rPr>
                <a:t>Award of business and conclusion of contract</a:t>
              </a:r>
              <a:endParaRPr kumimoji="0" lang="en-US" sz="12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sp>
          <p:nvSpPr>
            <p:cNvPr id="163" name="TextBox 105">
              <a:extLst>
                <a:ext uri="{FF2B5EF4-FFF2-40B4-BE49-F238E27FC236}">
                  <a16:creationId xmlns:a16="http://schemas.microsoft.com/office/drawing/2014/main" id="{634749EE-335C-4489-2B16-0900370D28C4}"/>
                </a:ext>
              </a:extLst>
            </p:cNvPr>
            <p:cNvSpPr txBox="1">
              <a:spLocks noChangeArrowheads="1"/>
            </p:cNvSpPr>
            <p:nvPr/>
          </p:nvSpPr>
          <p:spPr bwMode="auto">
            <a:xfrm>
              <a:off x="6874559" y="1418407"/>
              <a:ext cx="1168737" cy="2283389"/>
            </a:xfrm>
            <a:prstGeom prst="rect">
              <a:avLst/>
            </a:prstGeom>
            <a:solidFill>
              <a:srgbClr val="EEECE1">
                <a:lumMod val="40000"/>
                <a:lumOff val="60000"/>
              </a:srgbClr>
            </a:solidFill>
            <a:ln w="25400" cap="flat" cmpd="sng" algn="ctr">
              <a:solidFill>
                <a:srgbClr val="9BBB59">
                  <a:shade val="50000"/>
                </a:srgbClr>
              </a:solidFill>
              <a:prstDash val="solid"/>
            </a:ln>
            <a:effectLst/>
          </p:spPr>
          <p:txBody>
            <a:bodyPr wrap="square" anchor="ctr">
              <a:noAutofit/>
            </a:bodyP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mn-cs"/>
                </a:rPr>
                <a:t>Post tender negotiation with preferred bidder [2</a:t>
              </a:r>
              <a:r>
                <a:rPr kumimoji="0" lang="en-US" sz="800" b="0" i="0" u="none" strike="noStrike" kern="1200" cap="none" spc="0" normalizeH="0" baseline="30000" noProof="0" dirty="0">
                  <a:ln>
                    <a:noFill/>
                  </a:ln>
                  <a:solidFill>
                    <a:srgbClr val="000000"/>
                  </a:solidFill>
                  <a:effectLst/>
                  <a:uLnTx/>
                  <a:uFillTx/>
                  <a:latin typeface="Tahoma" panose="020B0604030504040204" pitchFamily="34" charset="0"/>
                  <a:ea typeface="Times New Roman" panose="02020603050405020304" pitchFamily="18" charset="0"/>
                  <a:cs typeface="+mn-cs"/>
                </a:rPr>
                <a:t>nd</a:t>
              </a:r>
              <a:r>
                <a:rPr kumimoji="0" lang="en-US" sz="8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mn-cs"/>
                </a:rPr>
                <a:t> and 3</a:t>
              </a:r>
              <a:r>
                <a:rPr kumimoji="0" lang="en-US" sz="800" b="0" i="0" u="none" strike="noStrike" kern="1200" cap="none" spc="0" normalizeH="0" baseline="30000" noProof="0" dirty="0">
                  <a:ln>
                    <a:noFill/>
                  </a:ln>
                  <a:solidFill>
                    <a:srgbClr val="000000"/>
                  </a:solidFill>
                  <a:effectLst/>
                  <a:uLnTx/>
                  <a:uFillTx/>
                  <a:latin typeface="Tahoma" panose="020B0604030504040204" pitchFamily="34" charset="0"/>
                  <a:ea typeface="Times New Roman" panose="02020603050405020304" pitchFamily="18" charset="0"/>
                  <a:cs typeface="+mn-cs"/>
                </a:rPr>
                <a:t>rd </a:t>
              </a:r>
              <a:r>
                <a:rPr kumimoji="0" lang="en-US" sz="8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mn-cs"/>
                </a:rPr>
                <a:t>ranked bidders (if required) in a sequential and not simultaneous manner] if pricing is not market-related</a:t>
              </a:r>
              <a:endParaRPr kumimoji="0" lang="en-US" sz="1200" b="0" i="0" u="none" strike="noStrike" kern="0" cap="none" spc="0" normalizeH="0" baseline="0" noProof="0" dirty="0">
                <a:ln>
                  <a:noFill/>
                </a:ln>
                <a:solidFill>
                  <a:sysClr val="window" lastClr="FFFFFF"/>
                </a:solidFill>
                <a:effectLst/>
                <a:uLnTx/>
                <a:uFillTx/>
                <a:latin typeface="Times New Roman" panose="02020603050405020304" pitchFamily="18" charset="0"/>
                <a:ea typeface="Times New Roman" panose="02020603050405020304" pitchFamily="18" charset="0"/>
                <a:cs typeface="+mn-cs"/>
              </a:endParaRPr>
            </a:p>
          </p:txBody>
        </p:sp>
        <p:sp>
          <p:nvSpPr>
            <p:cNvPr id="164" name="Rectangle 163">
              <a:extLst>
                <a:ext uri="{FF2B5EF4-FFF2-40B4-BE49-F238E27FC236}">
                  <a16:creationId xmlns:a16="http://schemas.microsoft.com/office/drawing/2014/main" id="{1F46D872-1806-704A-9E0F-E96716033016}"/>
                </a:ext>
              </a:extLst>
            </p:cNvPr>
            <p:cNvSpPr/>
            <p:nvPr/>
          </p:nvSpPr>
          <p:spPr>
            <a:xfrm>
              <a:off x="4888040" y="1799172"/>
              <a:ext cx="1014161" cy="1221020"/>
            </a:xfrm>
            <a:prstGeom prst="rect">
              <a:avLst/>
            </a:prstGeom>
            <a:solidFill>
              <a:srgbClr val="EEECE1">
                <a:lumMod val="20000"/>
                <a:lumOff val="80000"/>
              </a:srgbClr>
            </a:solidFill>
            <a:ln w="25400" cap="flat" cmpd="sng" algn="ctr">
              <a:solidFill>
                <a:srgbClr val="4F81BD"/>
              </a:solidFill>
              <a:prstDash val="solid"/>
            </a:ln>
            <a:effectLst/>
          </p:spPr>
          <p:txBody>
            <a:bodyPr wrap="square">
              <a:noAutofit/>
            </a:bodyPr>
            <a:lstStyle/>
            <a:p>
              <a:pPr marL="0" marR="0" lvl="0" indent="0" algn="l" defTabSz="914400" eaLnBrk="1" fontAlgn="base"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mn-cs"/>
                </a:rPr>
                <a:t>Price (90)</a:t>
              </a:r>
              <a:endParaRPr kumimoji="0" lang="en-US" sz="12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eaLnBrk="1" fontAlgn="base"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mn-cs"/>
                </a:rPr>
                <a:t> </a:t>
              </a:r>
              <a:endParaRPr kumimoji="0" lang="en-US" sz="12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eaLnBrk="1" fontAlgn="base"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mn-cs"/>
                </a:rPr>
                <a:t> </a:t>
              </a:r>
              <a:endParaRPr kumimoji="0" lang="en-US" sz="12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eaLnBrk="1" fontAlgn="base"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Tahoma" panose="020B0604030504040204" pitchFamily="34" charset="0"/>
                  <a:ea typeface="Times New Roman" panose="02020603050405020304" pitchFamily="18" charset="0"/>
                  <a:cs typeface="+mn-cs"/>
                </a:rPr>
                <a:t>B-BBEE  scorecard (10)</a:t>
              </a:r>
              <a:endParaRPr kumimoji="0" lang="en-US" sz="12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Times New Roman" panose="02020603050405020304" pitchFamily="18" charset="0"/>
                <a:cs typeface="+mn-cs"/>
              </a:endParaRPr>
            </a:p>
          </p:txBody>
        </p:sp>
        <p:sp>
          <p:nvSpPr>
            <p:cNvPr id="165" name="Right Arrow 28850">
              <a:extLst>
                <a:ext uri="{FF2B5EF4-FFF2-40B4-BE49-F238E27FC236}">
                  <a16:creationId xmlns:a16="http://schemas.microsoft.com/office/drawing/2014/main" id="{F0139F15-DA01-3E39-1E44-1F5EF6715D9D}"/>
                </a:ext>
              </a:extLst>
            </p:cNvPr>
            <p:cNvSpPr>
              <a:spLocks noChangeArrowheads="1"/>
            </p:cNvSpPr>
            <p:nvPr/>
          </p:nvSpPr>
          <p:spPr bwMode="auto">
            <a:xfrm>
              <a:off x="8338074" y="2192754"/>
              <a:ext cx="272546" cy="287999"/>
            </a:xfrm>
            <a:prstGeom prst="rightArrow">
              <a:avLst>
                <a:gd name="adj1" fmla="val 50000"/>
                <a:gd name="adj2" fmla="val 49905"/>
              </a:avLst>
            </a:prstGeom>
            <a:solidFill>
              <a:srgbClr val="FAC090"/>
            </a:solidFill>
            <a:ln w="9525">
              <a:solidFill>
                <a:srgbClr val="321212"/>
              </a:solidFill>
              <a:miter lim="800000"/>
              <a:headEnd/>
              <a:tailEnd/>
            </a:ln>
          </p:spPr>
          <p:txBody>
            <a:bodyPr lIns="27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 name="TextBox 3">
              <a:extLst>
                <a:ext uri="{FF2B5EF4-FFF2-40B4-BE49-F238E27FC236}">
                  <a16:creationId xmlns:a16="http://schemas.microsoft.com/office/drawing/2014/main" id="{F7376CDC-92B2-8D29-5B2C-D177251EF7B2}"/>
                </a:ext>
              </a:extLst>
            </p:cNvPr>
            <p:cNvSpPr txBox="1">
              <a:spLocks noChangeArrowheads="1"/>
            </p:cNvSpPr>
            <p:nvPr/>
          </p:nvSpPr>
          <p:spPr bwMode="auto">
            <a:xfrm>
              <a:off x="2686008" y="883047"/>
              <a:ext cx="1726795" cy="202046"/>
            </a:xfrm>
            <a:prstGeom prst="rect">
              <a:avLst/>
            </a:prstGeom>
            <a:noFill/>
            <a:ln w="25400" cap="flat" cmpd="sng" algn="ctr">
              <a:solidFill>
                <a:sysClr val="windowText" lastClr="000000"/>
              </a:solidFill>
              <a:prstDash val="solid"/>
            </a:ln>
            <a:effectLst/>
          </p:spPr>
          <p:txBody>
            <a:bodyPr wrap="square" anchor="ctr">
              <a:noAutofit/>
            </a:bodyPr>
            <a:lstStyle/>
            <a:p>
              <a:pPr marL="0" marR="0" lvl="0" indent="0" algn="ctr" defTabSz="914400" eaLnBrk="1" fontAlgn="base"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Tahoma" panose="020B0604030504040204" pitchFamily="34" charset="0"/>
                  <a:ea typeface="Times New Roman" panose="02020603050405020304" pitchFamily="18" charset="0"/>
                  <a:cs typeface="+mn-cs"/>
                </a:rPr>
                <a:t>MINIMUM THRESHOLDS</a:t>
              </a:r>
              <a:endParaRPr kumimoji="0" lang="en-US" sz="1200" b="0"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cs typeface="+mn-cs"/>
              </a:endParaRPr>
            </a:p>
          </p:txBody>
        </p:sp>
        <p:sp>
          <p:nvSpPr>
            <p:cNvPr id="167" name="TextBox 16">
              <a:extLst>
                <a:ext uri="{FF2B5EF4-FFF2-40B4-BE49-F238E27FC236}">
                  <a16:creationId xmlns:a16="http://schemas.microsoft.com/office/drawing/2014/main" id="{4A07C6BC-F829-9474-EE35-2878F3251164}"/>
                </a:ext>
              </a:extLst>
            </p:cNvPr>
            <p:cNvSpPr txBox="1">
              <a:spLocks noChangeArrowheads="1"/>
            </p:cNvSpPr>
            <p:nvPr/>
          </p:nvSpPr>
          <p:spPr bwMode="auto">
            <a:xfrm>
              <a:off x="6874559" y="548590"/>
              <a:ext cx="859245"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Step 5</a:t>
              </a:r>
              <a:endParaRPr kumimoji="0" lang="en-US" sz="1200" b="0"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sp>
          <p:nvSpPr>
            <p:cNvPr id="168" name="TextBox 16">
              <a:extLst>
                <a:ext uri="{FF2B5EF4-FFF2-40B4-BE49-F238E27FC236}">
                  <a16:creationId xmlns:a16="http://schemas.microsoft.com/office/drawing/2014/main" id="{D9DE4429-B65C-9885-16CA-064784151727}"/>
                </a:ext>
              </a:extLst>
            </p:cNvPr>
            <p:cNvSpPr txBox="1">
              <a:spLocks noChangeArrowheads="1"/>
            </p:cNvSpPr>
            <p:nvPr/>
          </p:nvSpPr>
          <p:spPr bwMode="auto">
            <a:xfrm>
              <a:off x="7108281" y="499473"/>
              <a:ext cx="842348"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rPr>
                <a:t> </a:t>
              </a:r>
              <a:endParaRPr kumimoji="0" lang="en-US" sz="1200" b="0"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sp>
          <p:nvSpPr>
            <p:cNvPr id="169" name="TextBox 16">
              <a:extLst>
                <a:ext uri="{FF2B5EF4-FFF2-40B4-BE49-F238E27FC236}">
                  <a16:creationId xmlns:a16="http://schemas.microsoft.com/office/drawing/2014/main" id="{996DA659-62D9-DDC1-64C1-2E8635D1B1BD}"/>
                </a:ext>
              </a:extLst>
            </p:cNvPr>
            <p:cNvSpPr txBox="1">
              <a:spLocks noChangeArrowheads="1"/>
            </p:cNvSpPr>
            <p:nvPr/>
          </p:nvSpPr>
          <p:spPr bwMode="auto">
            <a:xfrm>
              <a:off x="8885840" y="533162"/>
              <a:ext cx="1033645" cy="349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oAutofit/>
            </a:bodyPr>
            <a:lstStyle/>
            <a:p>
              <a:pPr marL="0" marR="0" lvl="0" indent="0" algn="just" defTabSz="914400" eaLnBrk="1" fontAlgn="base"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Step 6</a:t>
              </a:r>
              <a:endParaRPr kumimoji="0" lang="en-US" sz="1200" b="0" i="0" u="none" strike="noStrike" kern="0" cap="none" spc="0" normalizeH="0" baseline="0" noProof="0">
                <a:ln>
                  <a:noFill/>
                </a:ln>
                <a:solidFill>
                  <a:sysClr val="windowText" lastClr="000000"/>
                </a:solidFill>
                <a:effectLst/>
                <a:uLnTx/>
                <a:uFillTx/>
                <a:latin typeface="Times New Roman" panose="02020603050405020304" pitchFamily="18" charset="0"/>
                <a:ea typeface="Times New Roman" panose="02020603050405020304" pitchFamily="18" charset="0"/>
              </a:endParaRPr>
            </a:p>
          </p:txBody>
        </p:sp>
        <p:cxnSp>
          <p:nvCxnSpPr>
            <p:cNvPr id="170" name="Straight Connector 169">
              <a:extLst>
                <a:ext uri="{FF2B5EF4-FFF2-40B4-BE49-F238E27FC236}">
                  <a16:creationId xmlns:a16="http://schemas.microsoft.com/office/drawing/2014/main" id="{EA99A0A0-F551-D746-CD66-2BD9EA664D27}"/>
                </a:ext>
              </a:extLst>
            </p:cNvPr>
            <p:cNvCxnSpPr>
              <a:cxnSpLocks noChangeShapeType="1"/>
            </p:cNvCxnSpPr>
            <p:nvPr/>
          </p:nvCxnSpPr>
          <p:spPr bwMode="auto">
            <a:xfrm>
              <a:off x="2485989" y="476858"/>
              <a:ext cx="21836" cy="5087989"/>
            </a:xfrm>
            <a:prstGeom prst="line">
              <a:avLst/>
            </a:prstGeom>
            <a:noFill/>
            <a:ln w="22225" algn="ctr">
              <a:solidFill>
                <a:sysClr val="windowText" lastClr="000000"/>
              </a:solidFill>
              <a:prstDash val="dash"/>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5910695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0A0263A7-C2D0-8572-E914-238671BA0913}"/>
              </a:ext>
            </a:extLst>
          </p:cNvPr>
          <p:cNvSpPr>
            <a:spLocks noGrp="1"/>
          </p:cNvSpPr>
          <p:nvPr>
            <p:ph type="title"/>
          </p:nvPr>
        </p:nvSpPr>
        <p:spPr>
          <a:xfrm>
            <a:off x="283474" y="296088"/>
            <a:ext cx="10079725" cy="369332"/>
          </a:xfrm>
        </p:spPr>
        <p:txBody>
          <a:bodyPr/>
          <a:lstStyle/>
          <a:p>
            <a:r>
              <a:rPr lang="en-ZA" sz="1800" dirty="0">
                <a:latin typeface="+mj-lt"/>
              </a:rPr>
              <a:t>Evaluation Methodology</a:t>
            </a:r>
            <a:endParaRPr lang="en-US" sz="1800" dirty="0">
              <a:latin typeface="+mj-lt"/>
            </a:endParaRPr>
          </a:p>
        </p:txBody>
      </p:sp>
      <p:sp>
        <p:nvSpPr>
          <p:cNvPr id="3" name="TextBox 2">
            <a:extLst>
              <a:ext uri="{FF2B5EF4-FFF2-40B4-BE49-F238E27FC236}">
                <a16:creationId xmlns:a16="http://schemas.microsoft.com/office/drawing/2014/main" id="{E46012E7-0A91-09FC-8FF4-BFDC2F049CD7}"/>
              </a:ext>
            </a:extLst>
          </p:cNvPr>
          <p:cNvSpPr txBox="1"/>
          <p:nvPr/>
        </p:nvSpPr>
        <p:spPr>
          <a:xfrm>
            <a:off x="283473" y="1147606"/>
            <a:ext cx="10863497" cy="3731791"/>
          </a:xfrm>
          <a:prstGeom prst="rect">
            <a:avLst/>
          </a:prstGeom>
          <a:noFill/>
        </p:spPr>
        <p:txBody>
          <a:bodyPr wrap="square">
            <a:spAutoFit/>
          </a:bodyPr>
          <a:lstStyle/>
          <a:p>
            <a:pPr>
              <a:spcAft>
                <a:spcPts val="900"/>
              </a:spcAft>
            </a:pPr>
            <a:r>
              <a:rPr lang="en-ZA" sz="2000" b="1" dirty="0">
                <a:solidFill>
                  <a:prstClr val="black"/>
                </a:solidFill>
              </a:rPr>
              <a:t>Step One: Administrative responsiveness</a:t>
            </a:r>
          </a:p>
          <a:p>
            <a:pPr marL="342900" indent="-342900">
              <a:spcAft>
                <a:spcPts val="900"/>
              </a:spcAft>
              <a:buFont typeface="Arial" pitchFamily="34" charset="0"/>
              <a:buChar char="•"/>
            </a:pPr>
            <a:r>
              <a:rPr lang="en-ZA" dirty="0">
                <a:solidFill>
                  <a:prstClr val="black"/>
                </a:solidFill>
              </a:rPr>
              <a:t>Whether the bid has been lodged on time.</a:t>
            </a:r>
          </a:p>
          <a:p>
            <a:pPr marL="342900" indent="-342900">
              <a:spcAft>
                <a:spcPts val="900"/>
              </a:spcAft>
              <a:buFont typeface="Arial" pitchFamily="34" charset="0"/>
              <a:buChar char="•"/>
            </a:pPr>
            <a:r>
              <a:rPr lang="en-GB" dirty="0">
                <a:solidFill>
                  <a:prstClr val="black"/>
                </a:solidFill>
              </a:rPr>
              <a:t>Whether all Returnable Documents and/or schedules were completed and returned by the closing date and time</a:t>
            </a:r>
            <a:r>
              <a:rPr lang="en-ZA" dirty="0">
                <a:solidFill>
                  <a:prstClr val="black"/>
                </a:solidFill>
              </a:rPr>
              <a:t>.</a:t>
            </a:r>
          </a:p>
          <a:p>
            <a:pPr marL="342900" indent="-342900">
              <a:spcAft>
                <a:spcPts val="900"/>
              </a:spcAft>
              <a:buFont typeface="Arial" pitchFamily="34" charset="0"/>
              <a:buChar char="•"/>
            </a:pPr>
            <a:r>
              <a:rPr lang="en-GB" dirty="0">
                <a:solidFill>
                  <a:prstClr val="black"/>
                </a:solidFill>
              </a:rPr>
              <a:t>Verify the validity of all Returnable Documents.</a:t>
            </a:r>
            <a:endParaRPr lang="en-ZA" dirty="0">
              <a:solidFill>
                <a:prstClr val="black"/>
              </a:solidFill>
            </a:endParaRPr>
          </a:p>
          <a:p>
            <a:pPr>
              <a:spcAft>
                <a:spcPts val="900"/>
              </a:spcAft>
            </a:pPr>
            <a:r>
              <a:rPr lang="en-ZA" sz="2000" b="1" dirty="0">
                <a:solidFill>
                  <a:prstClr val="black"/>
                </a:solidFill>
              </a:rPr>
              <a:t>Step Two: Substantive responsiveness</a:t>
            </a:r>
          </a:p>
          <a:p>
            <a:pPr marL="342900" indent="-342900">
              <a:spcAft>
                <a:spcPts val="900"/>
              </a:spcAft>
              <a:buFont typeface="Arial" pitchFamily="34" charset="0"/>
              <a:buChar char="•"/>
            </a:pPr>
            <a:r>
              <a:rPr lang="en-GB" dirty="0">
                <a:solidFill>
                  <a:prstClr val="black"/>
                </a:solidFill>
              </a:rPr>
              <a:t>Whether any general pre-qualification criteria set by Transnet, have been met. i.e., Proof of attendance of the compulsory briefing session, CIDB grading and technical prequalification</a:t>
            </a:r>
          </a:p>
          <a:p>
            <a:pPr marL="342900" indent="-342900">
              <a:spcAft>
                <a:spcPts val="900"/>
              </a:spcAft>
              <a:buFont typeface="Arial" pitchFamily="34" charset="0"/>
              <a:buChar char="•"/>
            </a:pPr>
            <a:r>
              <a:rPr lang="en-GB" dirty="0">
                <a:solidFill>
                  <a:prstClr val="black"/>
                </a:solidFill>
              </a:rPr>
              <a:t>Whether the Bid contains a Financial offer. </a:t>
            </a:r>
          </a:p>
          <a:p>
            <a:pPr marL="342900" indent="-342900">
              <a:spcAft>
                <a:spcPts val="900"/>
              </a:spcAft>
              <a:buFont typeface="Arial" pitchFamily="34" charset="0"/>
              <a:buChar char="•"/>
            </a:pPr>
            <a:r>
              <a:rPr lang="en-GB" dirty="0">
                <a:solidFill>
                  <a:prstClr val="black"/>
                </a:solidFill>
              </a:rPr>
              <a:t>Whether the Bid materially complies with the scope and/or specification given</a:t>
            </a:r>
            <a:endParaRPr lang="en-ZA" dirty="0"/>
          </a:p>
        </p:txBody>
      </p:sp>
    </p:spTree>
    <p:extLst>
      <p:ext uri="{BB962C8B-B14F-4D97-AF65-F5344CB8AC3E}">
        <p14:creationId xmlns:p14="http://schemas.microsoft.com/office/powerpoint/2010/main" val="29868578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1_TEMPLATE MASTER">
  <a:themeElements>
    <a:clrScheme name="Transnet colours">
      <a:dk1>
        <a:srgbClr val="000000"/>
      </a:dk1>
      <a:lt1>
        <a:srgbClr val="FFFFFF"/>
      </a:lt1>
      <a:dk2>
        <a:srgbClr val="69614E"/>
      </a:dk2>
      <a:lt2>
        <a:srgbClr val="C2BBAD"/>
      </a:lt2>
      <a:accent1>
        <a:srgbClr val="D32E12"/>
      </a:accent1>
      <a:accent2>
        <a:srgbClr val="7DBA00"/>
      </a:accent2>
      <a:accent3>
        <a:srgbClr val="66594D"/>
      </a:accent3>
      <a:accent4>
        <a:srgbClr val="8C934D"/>
      </a:accent4>
      <a:accent5>
        <a:srgbClr val="7D8F28"/>
      </a:accent5>
      <a:accent6>
        <a:srgbClr val="5C788F"/>
      </a:accent6>
      <a:hlink>
        <a:srgbClr val="87ADB0"/>
      </a:hlink>
      <a:folHlink>
        <a:srgbClr val="E9970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rgbClr val="E63C2B"/>
          </a:solidFill>
        </a:ln>
      </a:spPr>
      <a:bodyPr wrap="square" lIns="36000" tIns="36000" rIns="36000" bIns="36000" rtlCol="0" anchor="ctr"/>
      <a:lstStyle>
        <a:defPPr algn="ctr">
          <a:lnSpc>
            <a:spcPct val="110000"/>
          </a:lnSpc>
          <a:spcBef>
            <a:spcPts val="92"/>
          </a:spcBef>
          <a:spcAft>
            <a:spcPts val="92"/>
          </a:spcAft>
          <a:defRPr sz="923"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file>

<file path=customXml/item2.xml><?xml version="1.0" encoding="utf-8"?>
<ct:contentTypeSchema xmlns:ct="http://schemas.microsoft.com/office/2006/metadata/contentType" xmlns:ma="http://schemas.microsoft.com/office/2006/metadata/properties/metaAttributes" ct:_="" ma:_="" ma:contentTypeName="Document" ma:contentTypeID="0x0101000217C6BC19F3DC47ABADA032AC7C373B" ma:contentTypeVersion="3" ma:contentTypeDescription="Create a new document." ma:contentTypeScope="" ma:versionID="3747d81f0cc4061d7bf49c3fd90287bd">
  <xsd:schema xmlns:xsd="http://www.w3.org/2001/XMLSchema" xmlns:xs="http://www.w3.org/2001/XMLSchema" xmlns:p="http://schemas.microsoft.com/office/2006/metadata/properties" xmlns:ns2="98b382d7-bbc9-46be-b590-b37a68bdbbec" targetNamespace="http://schemas.microsoft.com/office/2006/metadata/properties" ma:root="true" ma:fieldsID="9a3e341f9dd0826a7fbeab0a51339fe0" ns2:_="">
    <xsd:import namespace="98b382d7-bbc9-46be-b590-b37a68bdbbec"/>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b382d7-bbc9-46be-b590-b37a68bdbbe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5DFD081-D9B3-4BB2-B709-8D476532CFE1}">
  <ds:schemaRefs>
    <ds:schemaRef ds:uri="http://schemas.microsoft.com/sharepoint/events"/>
  </ds:schemaRefs>
</ds:datastoreItem>
</file>

<file path=customXml/itemProps2.xml><?xml version="1.0" encoding="utf-8"?>
<ds:datastoreItem xmlns:ds="http://schemas.openxmlformats.org/officeDocument/2006/customXml" ds:itemID="{AA27813B-9914-43CF-A582-7199EB9ECE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8b382d7-bbc9-46be-b590-b37a68bdbb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64AA3A9-A820-4959-AB84-868C8A0F9BD7}">
  <ds:schemaRefs>
    <ds:schemaRef ds:uri="http://schemas.microsoft.com/office/2006/metadata/properties"/>
    <ds:schemaRef ds:uri="http://purl.org/dc/terms/"/>
    <ds:schemaRef ds:uri="http://schemas.openxmlformats.org/package/2006/metadata/core-properties"/>
    <ds:schemaRef ds:uri="http://schemas.microsoft.com/office/infopath/2007/PartnerControls"/>
    <ds:schemaRef ds:uri="98b382d7-bbc9-46be-b590-b37a68bdbbec"/>
    <ds:schemaRef ds:uri="http://schemas.microsoft.com/office/2006/documentManagement/types"/>
    <ds:schemaRef ds:uri="http://www.w3.org/XML/1998/namespace"/>
    <ds:schemaRef ds:uri="http://purl.org/dc/dcmitype/"/>
    <ds:schemaRef ds:uri="http://purl.org/dc/elements/1.1/"/>
  </ds:schemaRefs>
</ds:datastoreItem>
</file>

<file path=customXml/itemProps4.xml><?xml version="1.0" encoding="utf-8"?>
<ds:datastoreItem xmlns:ds="http://schemas.openxmlformats.org/officeDocument/2006/customXml" ds:itemID="{C8E53A0D-FF07-4C70-A30E-133F516FC61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40</TotalTime>
  <Words>1563</Words>
  <Application>Microsoft Office PowerPoint</Application>
  <PresentationFormat>Widescreen</PresentationFormat>
  <Paragraphs>171</Paragraphs>
  <Slides>19</Slides>
  <Notes>1</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3" baseType="lpstr">
      <vt:lpstr>Apex New Bold</vt:lpstr>
      <vt:lpstr>Apex New Book</vt:lpstr>
      <vt:lpstr>Apex New Medium</vt:lpstr>
      <vt:lpstr>Apex New Medium Italic</vt:lpstr>
      <vt:lpstr>Arial</vt:lpstr>
      <vt:lpstr>Calibri</vt:lpstr>
      <vt:lpstr>Symbol</vt:lpstr>
      <vt:lpstr>Tahoma</vt:lpstr>
      <vt:lpstr>Tahoma-Bold</vt:lpstr>
      <vt:lpstr>Times New Roman</vt:lpstr>
      <vt:lpstr>Wingdings-Regular</vt:lpstr>
      <vt:lpstr>1_TEMPLATE MASTER</vt:lpstr>
      <vt:lpstr>1_TEMPLATE MASTER</vt:lpstr>
      <vt:lpstr>think-cell Slide</vt:lpstr>
      <vt:lpstr>COMPULSORY BREIFING SESSION FOR THE SUPPLY AND INSTALLATION OF BULK ELECTRICAL SUPPLY INCLUDING TRANSFORMERS, SWITCHGEARS, MCC AND SUB-STATION BUILDINGS AT SALDANHA BULK TERMINAL FOR TRANSNET SOC LTD (REG.NO.1990/000900/30) OPERATING AS TRANSNET PORT TERMINALS, (HEREINAFTER REFERRED TO AS “TPT”) </vt:lpstr>
      <vt:lpstr>AGENDA</vt:lpstr>
      <vt:lpstr>SESSION RULES OF ENGAGEMENT (1/2)</vt:lpstr>
      <vt:lpstr>TENDER PROCESS: CONTENTS OF THE RFP </vt:lpstr>
      <vt:lpstr>T1.1 TENDER NOTICE AND INVITATION TO TENDER</vt:lpstr>
      <vt:lpstr>TENDER SUBMISSION</vt:lpstr>
      <vt:lpstr>TENDER SUBMISSION</vt:lpstr>
      <vt:lpstr>PowerPoint Presentation</vt:lpstr>
      <vt:lpstr>Evaluation Methodolo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trauss</dc:creator>
  <cp:lastModifiedBy>Hlengiwe</cp:lastModifiedBy>
  <cp:revision>11</cp:revision>
  <cp:lastPrinted>2020-07-17T12:09:20Z</cp:lastPrinted>
  <dcterms:created xsi:type="dcterms:W3CDTF">2020-05-19T16:46:16Z</dcterms:created>
  <dcterms:modified xsi:type="dcterms:W3CDTF">2024-03-25T17:5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17C6BC19F3DC47ABADA032AC7C373B</vt:lpwstr>
  </property>
  <property fmtid="{D5CDD505-2E9C-101B-9397-08002B2CF9AE}" pid="3" name="MediaServiceImageTags">
    <vt:lpwstr/>
  </property>
</Properties>
</file>